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3"/>
  </p:notesMasterIdLst>
  <p:sldIdLst>
    <p:sldId id="2145708484" r:id="rId5"/>
    <p:sldId id="2147482039" r:id="rId6"/>
    <p:sldId id="2147482040" r:id="rId7"/>
    <p:sldId id="2147482028" r:id="rId8"/>
    <p:sldId id="2147482029" r:id="rId9"/>
    <p:sldId id="2147482030" r:id="rId10"/>
    <p:sldId id="2147482031" r:id="rId11"/>
    <p:sldId id="2147482032" r:id="rId12"/>
    <p:sldId id="2147482033" r:id="rId13"/>
    <p:sldId id="2147482034" r:id="rId14"/>
    <p:sldId id="2147481834" r:id="rId15"/>
    <p:sldId id="2147482046" r:id="rId16"/>
    <p:sldId id="2147482041" r:id="rId17"/>
    <p:sldId id="2147481799" r:id="rId18"/>
    <p:sldId id="2147481810" r:id="rId19"/>
    <p:sldId id="2147482047" r:id="rId20"/>
    <p:sldId id="2147482048" r:id="rId21"/>
    <p:sldId id="2147482049" r:id="rId22"/>
    <p:sldId id="2147481875" r:id="rId23"/>
    <p:sldId id="2147481871" r:id="rId24"/>
    <p:sldId id="2147482044" r:id="rId25"/>
    <p:sldId id="2147482042" r:id="rId26"/>
    <p:sldId id="2147481872" r:id="rId27"/>
    <p:sldId id="2147481878" r:id="rId28"/>
    <p:sldId id="2147482043" r:id="rId29"/>
    <p:sldId id="2147482045" r:id="rId30"/>
    <p:sldId id="2145708486" r:id="rId31"/>
    <p:sldId id="2145708487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C4D774C-9497-7F7F-EF7B-A7BB31449806}" name="Muffoletto, Jamie" initials="" userId="S::Jamie.Muffoletto@tea.texas.gov::daf1e3c6-8137-448a-b141-d23049d419b5" providerId="AD"/>
  <p188:author id="{88FD5650-FDF7-D327-15AD-60BA7056B56F}" name="Fredrickson, Eric" initials="FE" userId="S::eric.fredrickson@tea.texas.gov::293a4987-18ec-4e7c-9471-18a895b1a1f1" providerId="AD"/>
  <p188:author id="{00513F6E-B2A7-8FD4-EB4B-5CAF9057E4FC}" name="Muffoletto, Jamie" initials="MJ" userId="S::jamie.muffoletto@tea.texas.gov::daf1e3c6-8137-448a-b141-d23049d419b5" providerId="AD"/>
  <p188:author id="{F902B895-D51D-B2F5-5D3A-A6B05314BF87}" name="Rajan, Ann" initials="AR" userId="S::Ann.Rajan@tea.texas.gov::b1268b58-4efe-4f46-acfe-2e011211c036" providerId="AD"/>
  <p188:author id="{F5F340D7-5C24-501F-2EBC-24B656738553}" name="Schutte, Marian" initials="MS" userId="S::Marian.Schutte@tea.texas.gov::2cabc17b-9ca9-453e-87c1-62dd3396bd3e" providerId="AD"/>
  <p188:author id="{D70828E8-CD5D-10D6-3596-6D8A58B52008}" name="Fredrickson, Eric" initials="EF" userId="S::Eric.Fredrickson@tea.texas.gov::293a4987-18ec-4e7c-9471-18a895b1a1f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FF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43B581-D16C-40EF-AB8E-062043BF6E13}" v="2" dt="2026-03-30T21:58:50.5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40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lervidez, Leticia" userId="12ccd2a1-d554-4cac-b492-4e314c2b5f8f" providerId="ADAL" clId="{64D21C05-5C8D-4A11-B08A-8C7DB5B33154}"/>
    <pc:docChg chg="undo custSel modSld">
      <pc:chgData name="Ollervidez, Leticia" userId="12ccd2a1-d554-4cac-b492-4e314c2b5f8f" providerId="ADAL" clId="{64D21C05-5C8D-4A11-B08A-8C7DB5B33154}" dt="2026-03-30T22:03:11.278" v="190" actId="20577"/>
      <pc:docMkLst>
        <pc:docMk/>
      </pc:docMkLst>
      <pc:sldChg chg="modSp mod">
        <pc:chgData name="Ollervidez, Leticia" userId="12ccd2a1-d554-4cac-b492-4e314c2b5f8f" providerId="ADAL" clId="{64D21C05-5C8D-4A11-B08A-8C7DB5B33154}" dt="2026-03-30T21:58:50.515" v="184" actId="962"/>
        <pc:sldMkLst>
          <pc:docMk/>
          <pc:sldMk cId="1917943673" sldId="2145708486"/>
        </pc:sldMkLst>
        <pc:spChg chg="ord">
          <ac:chgData name="Ollervidez, Leticia" userId="12ccd2a1-d554-4cac-b492-4e314c2b5f8f" providerId="ADAL" clId="{64D21C05-5C8D-4A11-B08A-8C7DB5B33154}" dt="2026-03-30T21:52:20.301" v="156" actId="13244"/>
          <ac:spMkLst>
            <pc:docMk/>
            <pc:sldMk cId="1917943673" sldId="2145708486"/>
            <ac:spMk id="4" creationId="{5B927CB4-834E-6953-7B50-7115B38871A6}"/>
          </ac:spMkLst>
        </pc:spChg>
        <pc:spChg chg="ord">
          <ac:chgData name="Ollervidez, Leticia" userId="12ccd2a1-d554-4cac-b492-4e314c2b5f8f" providerId="ADAL" clId="{64D21C05-5C8D-4A11-B08A-8C7DB5B33154}" dt="2026-03-30T21:52:30.255" v="157" actId="13244"/>
          <ac:spMkLst>
            <pc:docMk/>
            <pc:sldMk cId="1917943673" sldId="2145708486"/>
            <ac:spMk id="9" creationId="{54066715-AA4C-03D8-8B88-3B45E019516F}"/>
          </ac:spMkLst>
        </pc:spChg>
        <pc:graphicFrameChg chg="mod">
          <ac:chgData name="Ollervidez, Leticia" userId="12ccd2a1-d554-4cac-b492-4e314c2b5f8f" providerId="ADAL" clId="{64D21C05-5C8D-4A11-B08A-8C7DB5B33154}" dt="2026-03-30T21:58:50.515" v="184" actId="962"/>
          <ac:graphicFrameMkLst>
            <pc:docMk/>
            <pc:sldMk cId="1917943673" sldId="2145708486"/>
            <ac:graphicFrameMk id="8" creationId="{69CC07AC-C4AF-10B6-6635-A64F7D9643F1}"/>
          </ac:graphicFrameMkLst>
        </pc:graphicFrameChg>
      </pc:sldChg>
      <pc:sldChg chg="delSp modSp mod">
        <pc:chgData name="Ollervidez, Leticia" userId="12ccd2a1-d554-4cac-b492-4e314c2b5f8f" providerId="ADAL" clId="{64D21C05-5C8D-4A11-B08A-8C7DB5B33154}" dt="2026-03-30T21:58:19.842" v="180" actId="962"/>
        <pc:sldMkLst>
          <pc:docMk/>
          <pc:sldMk cId="3130673588" sldId="2147481799"/>
        </pc:sldMkLst>
        <pc:spChg chg="ord">
          <ac:chgData name="Ollervidez, Leticia" userId="12ccd2a1-d554-4cac-b492-4e314c2b5f8f" providerId="ADAL" clId="{64D21C05-5C8D-4A11-B08A-8C7DB5B33154}" dt="2026-03-30T21:49:45.197" v="144" actId="13244"/>
          <ac:spMkLst>
            <pc:docMk/>
            <pc:sldMk cId="3130673588" sldId="2147481799"/>
            <ac:spMk id="4" creationId="{73254E7A-990D-E60E-5C07-51E22D565D16}"/>
          </ac:spMkLst>
        </pc:spChg>
        <pc:spChg chg="del">
          <ac:chgData name="Ollervidez, Leticia" userId="12ccd2a1-d554-4cac-b492-4e314c2b5f8f" providerId="ADAL" clId="{64D21C05-5C8D-4A11-B08A-8C7DB5B33154}" dt="2026-03-30T21:49:56.482" v="145" actId="478"/>
          <ac:spMkLst>
            <pc:docMk/>
            <pc:sldMk cId="3130673588" sldId="2147481799"/>
            <ac:spMk id="8" creationId="{0863BB91-4AC5-DB16-D0F3-7246192C818B}"/>
          </ac:spMkLst>
        </pc:spChg>
        <pc:picChg chg="mod">
          <ac:chgData name="Ollervidez, Leticia" userId="12ccd2a1-d554-4cac-b492-4e314c2b5f8f" providerId="ADAL" clId="{64D21C05-5C8D-4A11-B08A-8C7DB5B33154}" dt="2026-03-30T21:58:19.842" v="180" actId="962"/>
          <ac:picMkLst>
            <pc:docMk/>
            <pc:sldMk cId="3130673588" sldId="2147481799"/>
            <ac:picMk id="6" creationId="{65A6F706-297D-556B-C093-AB0572E5BDA8}"/>
          </ac:picMkLst>
        </pc:picChg>
      </pc:sldChg>
      <pc:sldChg chg="modSp mod">
        <pc:chgData name="Ollervidez, Leticia" userId="12ccd2a1-d554-4cac-b492-4e314c2b5f8f" providerId="ADAL" clId="{64D21C05-5C8D-4A11-B08A-8C7DB5B33154}" dt="2026-03-30T21:50:48.496" v="148" actId="13244"/>
        <pc:sldMkLst>
          <pc:docMk/>
          <pc:sldMk cId="121197050" sldId="2147481871"/>
        </pc:sldMkLst>
        <pc:spChg chg="ord">
          <ac:chgData name="Ollervidez, Leticia" userId="12ccd2a1-d554-4cac-b492-4e314c2b5f8f" providerId="ADAL" clId="{64D21C05-5C8D-4A11-B08A-8C7DB5B33154}" dt="2026-03-30T21:50:33.763" v="147" actId="13244"/>
          <ac:spMkLst>
            <pc:docMk/>
            <pc:sldMk cId="121197050" sldId="2147481871"/>
            <ac:spMk id="4" creationId="{ECC23575-6179-0AD7-04AB-0B3862AA0920}"/>
          </ac:spMkLst>
        </pc:spChg>
        <pc:spChg chg="ord">
          <ac:chgData name="Ollervidez, Leticia" userId="12ccd2a1-d554-4cac-b492-4e314c2b5f8f" providerId="ADAL" clId="{64D21C05-5C8D-4A11-B08A-8C7DB5B33154}" dt="2026-03-30T21:50:48.496" v="148" actId="13244"/>
          <ac:spMkLst>
            <pc:docMk/>
            <pc:sldMk cId="121197050" sldId="2147481871"/>
            <ac:spMk id="9" creationId="{4B51B9F6-67EC-A8E3-BCCA-6C2E25D3B792}"/>
          </ac:spMkLst>
        </pc:spChg>
      </pc:sldChg>
      <pc:sldChg chg="modSp mod">
        <pc:chgData name="Ollervidez, Leticia" userId="12ccd2a1-d554-4cac-b492-4e314c2b5f8f" providerId="ADAL" clId="{64D21C05-5C8D-4A11-B08A-8C7DB5B33154}" dt="2026-03-30T21:50:16.457" v="146" actId="13244"/>
        <pc:sldMkLst>
          <pc:docMk/>
          <pc:sldMk cId="2976406938" sldId="2147481875"/>
        </pc:sldMkLst>
        <pc:spChg chg="ord">
          <ac:chgData name="Ollervidez, Leticia" userId="12ccd2a1-d554-4cac-b492-4e314c2b5f8f" providerId="ADAL" clId="{64D21C05-5C8D-4A11-B08A-8C7DB5B33154}" dt="2026-03-30T21:50:16.457" v="146" actId="13244"/>
          <ac:spMkLst>
            <pc:docMk/>
            <pc:sldMk cId="2976406938" sldId="2147481875"/>
            <ac:spMk id="18" creationId="{5983F5F0-BD6C-31D8-9339-5B838EDABA8E}"/>
          </ac:spMkLst>
        </pc:spChg>
      </pc:sldChg>
      <pc:sldChg chg="modSp mod">
        <pc:chgData name="Ollervidez, Leticia" userId="12ccd2a1-d554-4cac-b492-4e314c2b5f8f" providerId="ADAL" clId="{64D21C05-5C8D-4A11-B08A-8C7DB5B33154}" dt="2026-03-30T21:43:33.735" v="9" actId="13244"/>
        <pc:sldMkLst>
          <pc:docMk/>
          <pc:sldMk cId="386759812" sldId="2147482028"/>
        </pc:sldMkLst>
        <pc:spChg chg="ord">
          <ac:chgData name="Ollervidez, Leticia" userId="12ccd2a1-d554-4cac-b492-4e314c2b5f8f" providerId="ADAL" clId="{64D21C05-5C8D-4A11-B08A-8C7DB5B33154}" dt="2026-03-30T21:43:33.735" v="9" actId="13244"/>
          <ac:spMkLst>
            <pc:docMk/>
            <pc:sldMk cId="386759812" sldId="2147482028"/>
            <ac:spMk id="4" creationId="{3B1F2F6B-097F-54EC-CDAF-41A03967471D}"/>
          </ac:spMkLst>
        </pc:spChg>
      </pc:sldChg>
      <pc:sldChg chg="modSp mod modNotes">
        <pc:chgData name="Ollervidez, Leticia" userId="12ccd2a1-d554-4cac-b492-4e314c2b5f8f" providerId="ADAL" clId="{64D21C05-5C8D-4A11-B08A-8C7DB5B33154}" dt="2026-03-30T22:02:29.947" v="185" actId="6549"/>
        <pc:sldMkLst>
          <pc:docMk/>
          <pc:sldMk cId="2295860416" sldId="2147482029"/>
        </pc:sldMkLst>
        <pc:spChg chg="ord">
          <ac:chgData name="Ollervidez, Leticia" userId="12ccd2a1-d554-4cac-b492-4e314c2b5f8f" providerId="ADAL" clId="{64D21C05-5C8D-4A11-B08A-8C7DB5B33154}" dt="2026-03-30T21:43:48.809" v="10" actId="13244"/>
          <ac:spMkLst>
            <pc:docMk/>
            <pc:sldMk cId="2295860416" sldId="2147482029"/>
            <ac:spMk id="4" creationId="{20CC15B2-A260-7791-64FA-88EF0726E5DA}"/>
          </ac:spMkLst>
        </pc:spChg>
      </pc:sldChg>
      <pc:sldChg chg="modSp mod">
        <pc:chgData name="Ollervidez, Leticia" userId="12ccd2a1-d554-4cac-b492-4e314c2b5f8f" providerId="ADAL" clId="{64D21C05-5C8D-4A11-B08A-8C7DB5B33154}" dt="2026-03-30T21:44:02.599" v="11" actId="13244"/>
        <pc:sldMkLst>
          <pc:docMk/>
          <pc:sldMk cId="3919495539" sldId="2147482030"/>
        </pc:sldMkLst>
        <pc:spChg chg="ord">
          <ac:chgData name="Ollervidez, Leticia" userId="12ccd2a1-d554-4cac-b492-4e314c2b5f8f" providerId="ADAL" clId="{64D21C05-5C8D-4A11-B08A-8C7DB5B33154}" dt="2026-03-30T21:44:02.599" v="11" actId="13244"/>
          <ac:spMkLst>
            <pc:docMk/>
            <pc:sldMk cId="3919495539" sldId="2147482030"/>
            <ac:spMk id="4" creationId="{5B927CB4-834E-6953-7B50-7115B38871A6}"/>
          </ac:spMkLst>
        </pc:spChg>
      </pc:sldChg>
      <pc:sldChg chg="modSp mod modNotes">
        <pc:chgData name="Ollervidez, Leticia" userId="12ccd2a1-d554-4cac-b492-4e314c2b5f8f" providerId="ADAL" clId="{64D21C05-5C8D-4A11-B08A-8C7DB5B33154}" dt="2026-03-30T22:02:36.826" v="186" actId="6549"/>
        <pc:sldMkLst>
          <pc:docMk/>
          <pc:sldMk cId="1923571913" sldId="2147482031"/>
        </pc:sldMkLst>
        <pc:spChg chg="ord">
          <ac:chgData name="Ollervidez, Leticia" userId="12ccd2a1-d554-4cac-b492-4e314c2b5f8f" providerId="ADAL" clId="{64D21C05-5C8D-4A11-B08A-8C7DB5B33154}" dt="2026-03-30T21:44:22.598" v="12" actId="13244"/>
          <ac:spMkLst>
            <pc:docMk/>
            <pc:sldMk cId="1923571913" sldId="2147482031"/>
            <ac:spMk id="8" creationId="{4E343BD3-29EF-926D-91A1-786C3D35DEFA}"/>
          </ac:spMkLst>
        </pc:spChg>
        <pc:spChg chg="ord">
          <ac:chgData name="Ollervidez, Leticia" userId="12ccd2a1-d554-4cac-b492-4e314c2b5f8f" providerId="ADAL" clId="{64D21C05-5C8D-4A11-B08A-8C7DB5B33154}" dt="2026-03-30T21:44:52.014" v="14" actId="13244"/>
          <ac:spMkLst>
            <pc:docMk/>
            <pc:sldMk cId="1923571913" sldId="2147482031"/>
            <ac:spMk id="40" creationId="{E141A89B-C994-25C0-1113-0BEC2B0E51C5}"/>
          </ac:spMkLst>
        </pc:spChg>
        <pc:graphicFrameChg chg="ord">
          <ac:chgData name="Ollervidez, Leticia" userId="12ccd2a1-d554-4cac-b492-4e314c2b5f8f" providerId="ADAL" clId="{64D21C05-5C8D-4A11-B08A-8C7DB5B33154}" dt="2026-03-30T21:44:33.044" v="13" actId="13244"/>
          <ac:graphicFrameMkLst>
            <pc:docMk/>
            <pc:sldMk cId="1923571913" sldId="2147482031"/>
            <ac:graphicFrameMk id="39" creationId="{6E0EB9E9-17E7-B386-4A66-290C8C9757B4}"/>
          </ac:graphicFrameMkLst>
        </pc:graphicFrameChg>
      </pc:sldChg>
      <pc:sldChg chg="addSp delSp modSp mod modNotes">
        <pc:chgData name="Ollervidez, Leticia" userId="12ccd2a1-d554-4cac-b492-4e314c2b5f8f" providerId="ADAL" clId="{64D21C05-5C8D-4A11-B08A-8C7DB5B33154}" dt="2026-03-30T22:02:41.567" v="187" actId="6549"/>
        <pc:sldMkLst>
          <pc:docMk/>
          <pc:sldMk cId="1226226012" sldId="2147482032"/>
        </pc:sldMkLst>
        <pc:spChg chg="mod">
          <ac:chgData name="Ollervidez, Leticia" userId="12ccd2a1-d554-4cac-b492-4e314c2b5f8f" providerId="ADAL" clId="{64D21C05-5C8D-4A11-B08A-8C7DB5B33154}" dt="2026-03-30T21:52:49.700" v="158" actId="20577"/>
          <ac:spMkLst>
            <pc:docMk/>
            <pc:sldMk cId="1226226012" sldId="2147482032"/>
            <ac:spMk id="2" creationId="{8029597B-0C0E-DC67-08BA-60141EED2399}"/>
          </ac:spMkLst>
        </pc:spChg>
        <pc:spChg chg="del">
          <ac:chgData name="Ollervidez, Leticia" userId="12ccd2a1-d554-4cac-b492-4e314c2b5f8f" providerId="ADAL" clId="{64D21C05-5C8D-4A11-B08A-8C7DB5B33154}" dt="2026-03-30T21:45:51.395" v="15" actId="478"/>
          <ac:spMkLst>
            <pc:docMk/>
            <pc:sldMk cId="1226226012" sldId="2147482032"/>
            <ac:spMk id="7" creationId="{445AD47A-1356-FBC7-4C7F-C289B5DD6082}"/>
          </ac:spMkLst>
        </pc:spChg>
        <pc:spChg chg="del">
          <ac:chgData name="Ollervidez, Leticia" userId="12ccd2a1-d554-4cac-b492-4e314c2b5f8f" providerId="ADAL" clId="{64D21C05-5C8D-4A11-B08A-8C7DB5B33154}" dt="2026-03-30T21:45:52.242" v="16" actId="478"/>
          <ac:spMkLst>
            <pc:docMk/>
            <pc:sldMk cId="1226226012" sldId="2147482032"/>
            <ac:spMk id="9" creationId="{1F66C52C-FE05-5B4D-F92E-CA30C793B10D}"/>
          </ac:spMkLst>
        </pc:spChg>
        <pc:spChg chg="del">
          <ac:chgData name="Ollervidez, Leticia" userId="12ccd2a1-d554-4cac-b492-4e314c2b5f8f" providerId="ADAL" clId="{64D21C05-5C8D-4A11-B08A-8C7DB5B33154}" dt="2026-03-30T21:46:06.368" v="21" actId="478"/>
          <ac:spMkLst>
            <pc:docMk/>
            <pc:sldMk cId="1226226012" sldId="2147482032"/>
            <ac:spMk id="10" creationId="{7AF92F45-11E5-1F45-FF31-00BAC6B56568}"/>
          </ac:spMkLst>
        </pc:spChg>
        <pc:spChg chg="del mod">
          <ac:chgData name="Ollervidez, Leticia" userId="12ccd2a1-d554-4cac-b492-4e314c2b5f8f" providerId="ADAL" clId="{64D21C05-5C8D-4A11-B08A-8C7DB5B33154}" dt="2026-03-30T21:46:17.930" v="25" actId="478"/>
          <ac:spMkLst>
            <pc:docMk/>
            <pc:sldMk cId="1226226012" sldId="2147482032"/>
            <ac:spMk id="12" creationId="{84CF5EEB-2E08-2929-D22E-9AB248F1CE51}"/>
          </ac:spMkLst>
        </pc:spChg>
        <pc:spChg chg="del mod">
          <ac:chgData name="Ollervidez, Leticia" userId="12ccd2a1-d554-4cac-b492-4e314c2b5f8f" providerId="ADAL" clId="{64D21C05-5C8D-4A11-B08A-8C7DB5B33154}" dt="2026-03-30T21:46:01.467" v="19" actId="478"/>
          <ac:spMkLst>
            <pc:docMk/>
            <pc:sldMk cId="1226226012" sldId="2147482032"/>
            <ac:spMk id="13" creationId="{DBB9825D-5E8B-CF9E-EB62-A8C49E83FB48}"/>
          </ac:spMkLst>
        </pc:spChg>
        <pc:spChg chg="del">
          <ac:chgData name="Ollervidez, Leticia" userId="12ccd2a1-d554-4cac-b492-4e314c2b5f8f" providerId="ADAL" clId="{64D21C05-5C8D-4A11-B08A-8C7DB5B33154}" dt="2026-03-30T21:46:09.918" v="22" actId="478"/>
          <ac:spMkLst>
            <pc:docMk/>
            <pc:sldMk cId="1226226012" sldId="2147482032"/>
            <ac:spMk id="24" creationId="{F4909E0B-ED7B-5F8E-FD80-3AB76E185C7B}"/>
          </ac:spMkLst>
        </pc:spChg>
        <pc:spChg chg="del">
          <ac:chgData name="Ollervidez, Leticia" userId="12ccd2a1-d554-4cac-b492-4e314c2b5f8f" providerId="ADAL" clId="{64D21C05-5C8D-4A11-B08A-8C7DB5B33154}" dt="2026-03-30T21:46:30.646" v="30" actId="478"/>
          <ac:spMkLst>
            <pc:docMk/>
            <pc:sldMk cId="1226226012" sldId="2147482032"/>
            <ac:spMk id="33" creationId="{14686FC5-9860-6E91-87DC-65A3D5F3FDA1}"/>
          </ac:spMkLst>
        </pc:spChg>
        <pc:spChg chg="del">
          <ac:chgData name="Ollervidez, Leticia" userId="12ccd2a1-d554-4cac-b492-4e314c2b5f8f" providerId="ADAL" clId="{64D21C05-5C8D-4A11-B08A-8C7DB5B33154}" dt="2026-03-30T21:46:19.109" v="26" actId="478"/>
          <ac:spMkLst>
            <pc:docMk/>
            <pc:sldMk cId="1226226012" sldId="2147482032"/>
            <ac:spMk id="34" creationId="{086AA57B-4994-3472-657A-6315632873EA}"/>
          </ac:spMkLst>
        </pc:spChg>
        <pc:spChg chg="del">
          <ac:chgData name="Ollervidez, Leticia" userId="12ccd2a1-d554-4cac-b492-4e314c2b5f8f" providerId="ADAL" clId="{64D21C05-5C8D-4A11-B08A-8C7DB5B33154}" dt="2026-03-30T21:45:58.229" v="18" actId="478"/>
          <ac:spMkLst>
            <pc:docMk/>
            <pc:sldMk cId="1226226012" sldId="2147482032"/>
            <ac:spMk id="35" creationId="{1AD59FAF-4394-86B6-D71E-A0C0D8A5C411}"/>
          </ac:spMkLst>
        </pc:spChg>
        <pc:spChg chg="del mod">
          <ac:chgData name="Ollervidez, Leticia" userId="12ccd2a1-d554-4cac-b492-4e314c2b5f8f" providerId="ADAL" clId="{64D21C05-5C8D-4A11-B08A-8C7DB5B33154}" dt="2026-03-30T21:46:43.208" v="35" actId="478"/>
          <ac:spMkLst>
            <pc:docMk/>
            <pc:sldMk cId="1226226012" sldId="2147482032"/>
            <ac:spMk id="43" creationId="{4F757FE3-985A-9D19-E24B-A91B72FF21C4}"/>
          </ac:spMkLst>
        </pc:spChg>
        <pc:spChg chg="del">
          <ac:chgData name="Ollervidez, Leticia" userId="12ccd2a1-d554-4cac-b492-4e314c2b5f8f" providerId="ADAL" clId="{64D21C05-5C8D-4A11-B08A-8C7DB5B33154}" dt="2026-03-30T21:46:48.249" v="37" actId="478"/>
          <ac:spMkLst>
            <pc:docMk/>
            <pc:sldMk cId="1226226012" sldId="2147482032"/>
            <ac:spMk id="46" creationId="{F7AA3E24-4E5C-8FA0-944A-4B7F4A32EEC5}"/>
          </ac:spMkLst>
        </pc:spChg>
        <pc:spChg chg="del">
          <ac:chgData name="Ollervidez, Leticia" userId="12ccd2a1-d554-4cac-b492-4e314c2b5f8f" providerId="ADAL" clId="{64D21C05-5C8D-4A11-B08A-8C7DB5B33154}" dt="2026-03-30T21:46:49.718" v="38" actId="478"/>
          <ac:spMkLst>
            <pc:docMk/>
            <pc:sldMk cId="1226226012" sldId="2147482032"/>
            <ac:spMk id="48" creationId="{C0BDCF1E-1CFB-3175-47FB-1C778BA95B41}"/>
          </ac:spMkLst>
        </pc:spChg>
        <pc:spChg chg="del">
          <ac:chgData name="Ollervidez, Leticia" userId="12ccd2a1-d554-4cac-b492-4e314c2b5f8f" providerId="ADAL" clId="{64D21C05-5C8D-4A11-B08A-8C7DB5B33154}" dt="2026-03-30T21:46:12.338" v="23" actId="478"/>
          <ac:spMkLst>
            <pc:docMk/>
            <pc:sldMk cId="1226226012" sldId="2147482032"/>
            <ac:spMk id="49" creationId="{1FCC179A-F8E5-D2DC-4F97-6D2DFD5B9D5B}"/>
          </ac:spMkLst>
        </pc:spChg>
        <pc:spChg chg="del">
          <ac:chgData name="Ollervidez, Leticia" userId="12ccd2a1-d554-4cac-b492-4e314c2b5f8f" providerId="ADAL" clId="{64D21C05-5C8D-4A11-B08A-8C7DB5B33154}" dt="2026-03-30T21:46:20.669" v="27" actId="478"/>
          <ac:spMkLst>
            <pc:docMk/>
            <pc:sldMk cId="1226226012" sldId="2147482032"/>
            <ac:spMk id="58" creationId="{F8501F6F-F99B-68EF-3912-120FE6AEE554}"/>
          </ac:spMkLst>
        </pc:spChg>
        <pc:spChg chg="del">
          <ac:chgData name="Ollervidez, Leticia" userId="12ccd2a1-d554-4cac-b492-4e314c2b5f8f" providerId="ADAL" clId="{64D21C05-5C8D-4A11-B08A-8C7DB5B33154}" dt="2026-03-30T21:46:03.644" v="20" actId="478"/>
          <ac:spMkLst>
            <pc:docMk/>
            <pc:sldMk cId="1226226012" sldId="2147482032"/>
            <ac:spMk id="72" creationId="{63F08CC7-91CC-53F7-9630-9F10A90DDD0A}"/>
          </ac:spMkLst>
        </pc:spChg>
        <pc:grpChg chg="del">
          <ac:chgData name="Ollervidez, Leticia" userId="12ccd2a1-d554-4cac-b492-4e314c2b5f8f" providerId="ADAL" clId="{64D21C05-5C8D-4A11-B08A-8C7DB5B33154}" dt="2026-03-30T21:46:36.417" v="32" actId="478"/>
          <ac:grpSpMkLst>
            <pc:docMk/>
            <pc:sldMk cId="1226226012" sldId="2147482032"/>
            <ac:grpSpMk id="14" creationId="{AAFB3922-E65C-A333-6B19-D5B22658F9D8}"/>
          </ac:grpSpMkLst>
        </pc:grpChg>
        <pc:grpChg chg="del">
          <ac:chgData name="Ollervidez, Leticia" userId="12ccd2a1-d554-4cac-b492-4e314c2b5f8f" providerId="ADAL" clId="{64D21C05-5C8D-4A11-B08A-8C7DB5B33154}" dt="2026-03-30T21:46:26.058" v="29" actId="478"/>
          <ac:grpSpMkLst>
            <pc:docMk/>
            <pc:sldMk cId="1226226012" sldId="2147482032"/>
            <ac:grpSpMk id="25" creationId="{10DC09E7-7DD0-D432-6C46-58BA4B019D56}"/>
          </ac:grpSpMkLst>
        </pc:grpChg>
        <pc:grpChg chg="del">
          <ac:chgData name="Ollervidez, Leticia" userId="12ccd2a1-d554-4cac-b492-4e314c2b5f8f" providerId="ADAL" clId="{64D21C05-5C8D-4A11-B08A-8C7DB5B33154}" dt="2026-03-30T21:46:39.714" v="33" actId="478"/>
          <ac:grpSpMkLst>
            <pc:docMk/>
            <pc:sldMk cId="1226226012" sldId="2147482032"/>
            <ac:grpSpMk id="36" creationId="{35946F04-8AE4-698F-95DE-1A2843AEBFB2}"/>
          </ac:grpSpMkLst>
        </pc:grpChg>
        <pc:grpChg chg="del">
          <ac:chgData name="Ollervidez, Leticia" userId="12ccd2a1-d554-4cac-b492-4e314c2b5f8f" providerId="ADAL" clId="{64D21C05-5C8D-4A11-B08A-8C7DB5B33154}" dt="2026-03-30T21:46:34.209" v="31" actId="478"/>
          <ac:grpSpMkLst>
            <pc:docMk/>
            <pc:sldMk cId="1226226012" sldId="2147482032"/>
            <ac:grpSpMk id="50" creationId="{D22DE48C-5599-DC95-9D2E-C62965AE5A5F}"/>
          </ac:grpSpMkLst>
        </pc:grpChg>
        <pc:grpChg chg="del">
          <ac:chgData name="Ollervidez, Leticia" userId="12ccd2a1-d554-4cac-b492-4e314c2b5f8f" providerId="ADAL" clId="{64D21C05-5C8D-4A11-B08A-8C7DB5B33154}" dt="2026-03-30T21:46:44.345" v="36" actId="478"/>
          <ac:grpSpMkLst>
            <pc:docMk/>
            <pc:sldMk cId="1226226012" sldId="2147482032"/>
            <ac:grpSpMk id="84" creationId="{F6BE4A59-5E42-A0D7-7B79-AA1387CE16E8}"/>
          </ac:grpSpMkLst>
        </pc:grpChg>
        <pc:graphicFrameChg chg="del">
          <ac:chgData name="Ollervidez, Leticia" userId="12ccd2a1-d554-4cac-b492-4e314c2b5f8f" providerId="ADAL" clId="{64D21C05-5C8D-4A11-B08A-8C7DB5B33154}" dt="2026-03-30T21:46:59.202" v="40" actId="478"/>
          <ac:graphicFrameMkLst>
            <pc:docMk/>
            <pc:sldMk cId="1226226012" sldId="2147482032"/>
            <ac:graphicFrameMk id="85" creationId="{D73AE18C-AD77-7605-16D0-3C77CC150773}"/>
          </ac:graphicFrameMkLst>
        </pc:graphicFrameChg>
        <pc:graphicFrameChg chg="del">
          <ac:chgData name="Ollervidez, Leticia" userId="12ccd2a1-d554-4cac-b492-4e314c2b5f8f" providerId="ADAL" clId="{64D21C05-5C8D-4A11-B08A-8C7DB5B33154}" dt="2026-03-30T21:46:55.116" v="39" actId="478"/>
          <ac:graphicFrameMkLst>
            <pc:docMk/>
            <pc:sldMk cId="1226226012" sldId="2147482032"/>
            <ac:graphicFrameMk id="87" creationId="{C4FF893B-C984-3122-3A4F-E927BC3C1D1B}"/>
          </ac:graphicFrameMkLst>
        </pc:graphicFrameChg>
        <pc:picChg chg="add mod">
          <ac:chgData name="Ollervidez, Leticia" userId="12ccd2a1-d554-4cac-b492-4e314c2b5f8f" providerId="ADAL" clId="{64D21C05-5C8D-4A11-B08A-8C7DB5B33154}" dt="2026-03-30T21:57:57.253" v="176" actId="962"/>
          <ac:picMkLst>
            <pc:docMk/>
            <pc:sldMk cId="1226226012" sldId="2147482032"/>
            <ac:picMk id="5" creationId="{46CD72A3-2A8D-DC67-C4DC-445DB9928D76}"/>
          </ac:picMkLst>
        </pc:picChg>
        <pc:picChg chg="del">
          <ac:chgData name="Ollervidez, Leticia" userId="12ccd2a1-d554-4cac-b492-4e314c2b5f8f" providerId="ADAL" clId="{64D21C05-5C8D-4A11-B08A-8C7DB5B33154}" dt="2026-03-30T21:46:23.971" v="28" actId="478"/>
          <ac:picMkLst>
            <pc:docMk/>
            <pc:sldMk cId="1226226012" sldId="2147482032"/>
            <ac:picMk id="11" creationId="{09C617FF-66BF-784D-1526-080650CDFF6E}"/>
          </ac:picMkLst>
        </pc:picChg>
        <pc:picChg chg="del">
          <ac:chgData name="Ollervidez, Leticia" userId="12ccd2a1-d554-4cac-b492-4e314c2b5f8f" providerId="ADAL" clId="{64D21C05-5C8D-4A11-B08A-8C7DB5B33154}" dt="2026-03-30T21:47:00.630" v="41" actId="478"/>
          <ac:picMkLst>
            <pc:docMk/>
            <pc:sldMk cId="1226226012" sldId="2147482032"/>
            <ac:picMk id="61" creationId="{E8D04FDD-96C2-5AAF-F54D-646E3C2129A4}"/>
          </ac:picMkLst>
        </pc:picChg>
      </pc:sldChg>
      <pc:sldChg chg="addSp delSp modSp mod modNotes">
        <pc:chgData name="Ollervidez, Leticia" userId="12ccd2a1-d554-4cac-b492-4e314c2b5f8f" providerId="ADAL" clId="{64D21C05-5C8D-4A11-B08A-8C7DB5B33154}" dt="2026-03-30T22:03:11.278" v="190" actId="20577"/>
        <pc:sldMkLst>
          <pc:docMk/>
          <pc:sldMk cId="3413146875" sldId="2147482033"/>
        </pc:sldMkLst>
        <pc:spChg chg="del">
          <ac:chgData name="Ollervidez, Leticia" userId="12ccd2a1-d554-4cac-b492-4e314c2b5f8f" providerId="ADAL" clId="{64D21C05-5C8D-4A11-B08A-8C7DB5B33154}" dt="2026-03-30T21:47:43.803" v="46" actId="478"/>
          <ac:spMkLst>
            <pc:docMk/>
            <pc:sldMk cId="3413146875" sldId="2147482033"/>
            <ac:spMk id="3" creationId="{20D92975-F167-E89D-DB6B-BC4A852185C7}"/>
          </ac:spMkLst>
        </pc:spChg>
        <pc:spChg chg="del">
          <ac:chgData name="Ollervidez, Leticia" userId="12ccd2a1-d554-4cac-b492-4e314c2b5f8f" providerId="ADAL" clId="{64D21C05-5C8D-4A11-B08A-8C7DB5B33154}" dt="2026-03-30T21:47:55.132" v="51" actId="478"/>
          <ac:spMkLst>
            <pc:docMk/>
            <pc:sldMk cId="3413146875" sldId="2147482033"/>
            <ac:spMk id="5" creationId="{A01230BD-8AD4-92B6-8189-4BDF46BDA5B5}"/>
          </ac:spMkLst>
        </pc:spChg>
        <pc:spChg chg="del">
          <ac:chgData name="Ollervidez, Leticia" userId="12ccd2a1-d554-4cac-b492-4e314c2b5f8f" providerId="ADAL" clId="{64D21C05-5C8D-4A11-B08A-8C7DB5B33154}" dt="2026-03-30T21:47:49.006" v="48" actId="478"/>
          <ac:spMkLst>
            <pc:docMk/>
            <pc:sldMk cId="3413146875" sldId="2147482033"/>
            <ac:spMk id="6" creationId="{36DE72EE-CF57-E7BF-808F-3A4595585BA6}"/>
          </ac:spMkLst>
        </pc:spChg>
        <pc:spChg chg="del">
          <ac:chgData name="Ollervidez, Leticia" userId="12ccd2a1-d554-4cac-b492-4e314c2b5f8f" providerId="ADAL" clId="{64D21C05-5C8D-4A11-B08A-8C7DB5B33154}" dt="2026-03-30T21:47:53.399" v="50" actId="478"/>
          <ac:spMkLst>
            <pc:docMk/>
            <pc:sldMk cId="3413146875" sldId="2147482033"/>
            <ac:spMk id="7" creationId="{3F7CF431-2ADA-8F59-06E7-654FFED07BAA}"/>
          </ac:spMkLst>
        </pc:spChg>
        <pc:spChg chg="del">
          <ac:chgData name="Ollervidez, Leticia" userId="12ccd2a1-d554-4cac-b492-4e314c2b5f8f" providerId="ADAL" clId="{64D21C05-5C8D-4A11-B08A-8C7DB5B33154}" dt="2026-03-30T21:47:50.354" v="49" actId="478"/>
          <ac:spMkLst>
            <pc:docMk/>
            <pc:sldMk cId="3413146875" sldId="2147482033"/>
            <ac:spMk id="36" creationId="{E727DC50-3257-D10D-683D-C789AC8941B2}"/>
          </ac:spMkLst>
        </pc:spChg>
        <pc:spChg chg="add del mod">
          <ac:chgData name="Ollervidez, Leticia" userId="12ccd2a1-d554-4cac-b492-4e314c2b5f8f" providerId="ADAL" clId="{64D21C05-5C8D-4A11-B08A-8C7DB5B33154}" dt="2026-03-30T21:47:46.555" v="47" actId="478"/>
          <ac:spMkLst>
            <pc:docMk/>
            <pc:sldMk cId="3413146875" sldId="2147482033"/>
            <ac:spMk id="91" creationId="{2B2E33B6-7F5A-F2B3-C2B7-6F8D2DE99B71}"/>
          </ac:spMkLst>
        </pc:spChg>
        <pc:grpChg chg="del">
          <ac:chgData name="Ollervidez, Leticia" userId="12ccd2a1-d554-4cac-b492-4e314c2b5f8f" providerId="ADAL" clId="{64D21C05-5C8D-4A11-B08A-8C7DB5B33154}" dt="2026-03-30T21:48:11.994" v="56" actId="478"/>
          <ac:grpSpMkLst>
            <pc:docMk/>
            <pc:sldMk cId="3413146875" sldId="2147482033"/>
            <ac:grpSpMk id="9" creationId="{FCE00691-02EF-AFD4-B65A-5E750C409A7C}"/>
          </ac:grpSpMkLst>
        </pc:grpChg>
        <pc:grpChg chg="del">
          <ac:chgData name="Ollervidez, Leticia" userId="12ccd2a1-d554-4cac-b492-4e314c2b5f8f" providerId="ADAL" clId="{64D21C05-5C8D-4A11-B08A-8C7DB5B33154}" dt="2026-03-30T21:48:07.929" v="55" actId="478"/>
          <ac:grpSpMkLst>
            <pc:docMk/>
            <pc:sldMk cId="3413146875" sldId="2147482033"/>
            <ac:grpSpMk id="38" creationId="{364AA044-A9C9-A069-373A-BBC4AFEDEAF6}"/>
          </ac:grpSpMkLst>
        </pc:grpChg>
        <pc:picChg chg="del">
          <ac:chgData name="Ollervidez, Leticia" userId="12ccd2a1-d554-4cac-b492-4e314c2b5f8f" providerId="ADAL" clId="{64D21C05-5C8D-4A11-B08A-8C7DB5B33154}" dt="2026-03-30T21:47:58.986" v="52" actId="478"/>
          <ac:picMkLst>
            <pc:docMk/>
            <pc:sldMk cId="3413146875" sldId="2147482033"/>
            <ac:picMk id="8" creationId="{E40BEBB7-8E39-3F76-27D9-558A2ED0CF0F}"/>
          </ac:picMkLst>
        </pc:picChg>
        <pc:picChg chg="del mod">
          <ac:chgData name="Ollervidez, Leticia" userId="12ccd2a1-d554-4cac-b492-4e314c2b5f8f" providerId="ADAL" clId="{64D21C05-5C8D-4A11-B08A-8C7DB5B33154}" dt="2026-03-30T21:48:32.110" v="80" actId="478"/>
          <ac:picMkLst>
            <pc:docMk/>
            <pc:sldMk cId="3413146875" sldId="2147482033"/>
            <ac:picMk id="12" creationId="{606CE0E8-CE10-4D1D-8086-28F0093DCC0C}"/>
          </ac:picMkLst>
        </pc:picChg>
        <pc:picChg chg="del">
          <ac:chgData name="Ollervidez, Leticia" userId="12ccd2a1-d554-4cac-b492-4e314c2b5f8f" providerId="ADAL" clId="{64D21C05-5C8D-4A11-B08A-8C7DB5B33154}" dt="2026-03-30T21:48:33.298" v="81" actId="478"/>
          <ac:picMkLst>
            <pc:docMk/>
            <pc:sldMk cId="3413146875" sldId="2147482033"/>
            <ac:picMk id="13" creationId="{7244CB63-7C24-64BF-8718-4211649C4A4D}"/>
          </ac:picMkLst>
        </pc:picChg>
        <pc:picChg chg="del">
          <ac:chgData name="Ollervidez, Leticia" userId="12ccd2a1-d554-4cac-b492-4e314c2b5f8f" providerId="ADAL" clId="{64D21C05-5C8D-4A11-B08A-8C7DB5B33154}" dt="2026-03-30T21:48:30.452" v="76" actId="478"/>
          <ac:picMkLst>
            <pc:docMk/>
            <pc:sldMk cId="3413146875" sldId="2147482033"/>
            <ac:picMk id="14" creationId="{E0A3A46B-2B18-1307-00F1-F7AEA7D18EBE}"/>
          </ac:picMkLst>
        </pc:picChg>
        <pc:picChg chg="del">
          <ac:chgData name="Ollervidez, Leticia" userId="12ccd2a1-d554-4cac-b492-4e314c2b5f8f" providerId="ADAL" clId="{64D21C05-5C8D-4A11-B08A-8C7DB5B33154}" dt="2026-03-30T21:48:25.138" v="69" actId="478"/>
          <ac:picMkLst>
            <pc:docMk/>
            <pc:sldMk cId="3413146875" sldId="2147482033"/>
            <ac:picMk id="15" creationId="{9EB1107A-0BFA-2EC2-4CBF-0FA9D03E255D}"/>
          </ac:picMkLst>
        </pc:picChg>
        <pc:picChg chg="del">
          <ac:chgData name="Ollervidez, Leticia" userId="12ccd2a1-d554-4cac-b492-4e314c2b5f8f" providerId="ADAL" clId="{64D21C05-5C8D-4A11-B08A-8C7DB5B33154}" dt="2026-03-30T21:48:20.555" v="63" actId="478"/>
          <ac:picMkLst>
            <pc:docMk/>
            <pc:sldMk cId="3413146875" sldId="2147482033"/>
            <ac:picMk id="16" creationId="{6C2B5783-5758-4B32-931A-A719CC8B89F1}"/>
          </ac:picMkLst>
        </pc:picChg>
        <pc:picChg chg="del">
          <ac:chgData name="Ollervidez, Leticia" userId="12ccd2a1-d554-4cac-b492-4e314c2b5f8f" providerId="ADAL" clId="{64D21C05-5C8D-4A11-B08A-8C7DB5B33154}" dt="2026-03-30T21:48:16.781" v="57" actId="478"/>
          <ac:picMkLst>
            <pc:docMk/>
            <pc:sldMk cId="3413146875" sldId="2147482033"/>
            <ac:picMk id="17" creationId="{01BB3601-AF8C-2F07-2046-F4180733E303}"/>
          </ac:picMkLst>
        </pc:picChg>
        <pc:picChg chg="del">
          <ac:chgData name="Ollervidez, Leticia" userId="12ccd2a1-d554-4cac-b492-4e314c2b5f8f" providerId="ADAL" clId="{64D21C05-5C8D-4A11-B08A-8C7DB5B33154}" dt="2026-03-30T21:48:31.427" v="78" actId="478"/>
          <ac:picMkLst>
            <pc:docMk/>
            <pc:sldMk cId="3413146875" sldId="2147482033"/>
            <ac:picMk id="18" creationId="{2E719290-F0A2-804E-311A-F00A6423C3AB}"/>
          </ac:picMkLst>
        </pc:picChg>
        <pc:picChg chg="del">
          <ac:chgData name="Ollervidez, Leticia" userId="12ccd2a1-d554-4cac-b492-4e314c2b5f8f" providerId="ADAL" clId="{64D21C05-5C8D-4A11-B08A-8C7DB5B33154}" dt="2026-03-30T21:48:18.971" v="60" actId="478"/>
          <ac:picMkLst>
            <pc:docMk/>
            <pc:sldMk cId="3413146875" sldId="2147482033"/>
            <ac:picMk id="19" creationId="{2EAE2A15-1884-766E-823E-9562D683736D}"/>
          </ac:picMkLst>
        </pc:picChg>
        <pc:picChg chg="del">
          <ac:chgData name="Ollervidez, Leticia" userId="12ccd2a1-d554-4cac-b492-4e314c2b5f8f" providerId="ADAL" clId="{64D21C05-5C8D-4A11-B08A-8C7DB5B33154}" dt="2026-03-30T21:48:19.506" v="61" actId="478"/>
          <ac:picMkLst>
            <pc:docMk/>
            <pc:sldMk cId="3413146875" sldId="2147482033"/>
            <ac:picMk id="20" creationId="{5A1D0D1A-8C4E-F7DD-AEF2-120D5C7D0A40}"/>
          </ac:picMkLst>
        </pc:picChg>
        <pc:picChg chg="del">
          <ac:chgData name="Ollervidez, Leticia" userId="12ccd2a1-d554-4cac-b492-4e314c2b5f8f" providerId="ADAL" clId="{64D21C05-5C8D-4A11-B08A-8C7DB5B33154}" dt="2026-03-30T21:48:29.786" v="75" actId="478"/>
          <ac:picMkLst>
            <pc:docMk/>
            <pc:sldMk cId="3413146875" sldId="2147482033"/>
            <ac:picMk id="21" creationId="{8761F68B-1DD9-4B60-5FB8-844E9CC17310}"/>
          </ac:picMkLst>
        </pc:picChg>
        <pc:picChg chg="del">
          <ac:chgData name="Ollervidez, Leticia" userId="12ccd2a1-d554-4cac-b492-4e314c2b5f8f" providerId="ADAL" clId="{64D21C05-5C8D-4A11-B08A-8C7DB5B33154}" dt="2026-03-30T21:48:20.005" v="62" actId="478"/>
          <ac:picMkLst>
            <pc:docMk/>
            <pc:sldMk cId="3413146875" sldId="2147482033"/>
            <ac:picMk id="22" creationId="{0DB5F357-EF58-6450-2A39-EC98C38625AE}"/>
          </ac:picMkLst>
        </pc:picChg>
        <pc:picChg chg="del">
          <ac:chgData name="Ollervidez, Leticia" userId="12ccd2a1-d554-4cac-b492-4e314c2b5f8f" providerId="ADAL" clId="{64D21C05-5C8D-4A11-B08A-8C7DB5B33154}" dt="2026-03-30T21:48:30.930" v="77" actId="478"/>
          <ac:picMkLst>
            <pc:docMk/>
            <pc:sldMk cId="3413146875" sldId="2147482033"/>
            <ac:picMk id="23" creationId="{C00CF300-D23B-1909-18E9-6D77A60F3F99}"/>
          </ac:picMkLst>
        </pc:picChg>
        <pc:picChg chg="del">
          <ac:chgData name="Ollervidez, Leticia" userId="12ccd2a1-d554-4cac-b492-4e314c2b5f8f" providerId="ADAL" clId="{64D21C05-5C8D-4A11-B08A-8C7DB5B33154}" dt="2026-03-30T21:48:27.338" v="73" actId="478"/>
          <ac:picMkLst>
            <pc:docMk/>
            <pc:sldMk cId="3413146875" sldId="2147482033"/>
            <ac:picMk id="24" creationId="{7ED0F90C-2220-FFC2-3A3D-6AD57BF3D661}"/>
          </ac:picMkLst>
        </pc:picChg>
        <pc:picChg chg="del">
          <ac:chgData name="Ollervidez, Leticia" userId="12ccd2a1-d554-4cac-b492-4e314c2b5f8f" providerId="ADAL" clId="{64D21C05-5C8D-4A11-B08A-8C7DB5B33154}" dt="2026-03-30T21:48:24.419" v="68" actId="478"/>
          <ac:picMkLst>
            <pc:docMk/>
            <pc:sldMk cId="3413146875" sldId="2147482033"/>
            <ac:picMk id="25" creationId="{F489E74E-4368-4B4A-ADFE-70A432DFAF63}"/>
          </ac:picMkLst>
        </pc:picChg>
        <pc:picChg chg="del">
          <ac:chgData name="Ollervidez, Leticia" userId="12ccd2a1-d554-4cac-b492-4e314c2b5f8f" providerId="ADAL" clId="{64D21C05-5C8D-4A11-B08A-8C7DB5B33154}" dt="2026-03-30T21:48:25.897" v="70" actId="478"/>
          <ac:picMkLst>
            <pc:docMk/>
            <pc:sldMk cId="3413146875" sldId="2147482033"/>
            <ac:picMk id="26" creationId="{E9C26F17-04C4-C0A4-DE61-C4B2C5B98B53}"/>
          </ac:picMkLst>
        </pc:picChg>
        <pc:picChg chg="del">
          <ac:chgData name="Ollervidez, Leticia" userId="12ccd2a1-d554-4cac-b492-4e314c2b5f8f" providerId="ADAL" clId="{64D21C05-5C8D-4A11-B08A-8C7DB5B33154}" dt="2026-03-30T21:48:28.749" v="74" actId="478"/>
          <ac:picMkLst>
            <pc:docMk/>
            <pc:sldMk cId="3413146875" sldId="2147482033"/>
            <ac:picMk id="27" creationId="{131FBF6B-6B79-2BDD-AF80-E4F4995513E8}"/>
          </ac:picMkLst>
        </pc:picChg>
        <pc:picChg chg="del">
          <ac:chgData name="Ollervidez, Leticia" userId="12ccd2a1-d554-4cac-b492-4e314c2b5f8f" providerId="ADAL" clId="{64D21C05-5C8D-4A11-B08A-8C7DB5B33154}" dt="2026-03-30T21:48:18.122" v="58" actId="478"/>
          <ac:picMkLst>
            <pc:docMk/>
            <pc:sldMk cId="3413146875" sldId="2147482033"/>
            <ac:picMk id="28" creationId="{2F0209C3-B5DC-461D-F885-CFDA93593242}"/>
          </ac:picMkLst>
        </pc:picChg>
        <pc:picChg chg="del">
          <ac:chgData name="Ollervidez, Leticia" userId="12ccd2a1-d554-4cac-b492-4e314c2b5f8f" providerId="ADAL" clId="{64D21C05-5C8D-4A11-B08A-8C7DB5B33154}" dt="2026-03-30T21:48:20.982" v="64" actId="478"/>
          <ac:picMkLst>
            <pc:docMk/>
            <pc:sldMk cId="3413146875" sldId="2147482033"/>
            <ac:picMk id="29" creationId="{C2A1CE9E-3A30-B054-8D65-194DEB71F0BB}"/>
          </ac:picMkLst>
        </pc:picChg>
        <pc:picChg chg="del">
          <ac:chgData name="Ollervidez, Leticia" userId="12ccd2a1-d554-4cac-b492-4e314c2b5f8f" providerId="ADAL" clId="{64D21C05-5C8D-4A11-B08A-8C7DB5B33154}" dt="2026-03-30T21:48:26.882" v="72" actId="478"/>
          <ac:picMkLst>
            <pc:docMk/>
            <pc:sldMk cId="3413146875" sldId="2147482033"/>
            <ac:picMk id="30" creationId="{76C0E742-77FB-6BBB-7000-9FF8749F874F}"/>
          </ac:picMkLst>
        </pc:picChg>
        <pc:picChg chg="del">
          <ac:chgData name="Ollervidez, Leticia" userId="12ccd2a1-d554-4cac-b492-4e314c2b5f8f" providerId="ADAL" clId="{64D21C05-5C8D-4A11-B08A-8C7DB5B33154}" dt="2026-03-30T21:48:23.427" v="67" actId="478"/>
          <ac:picMkLst>
            <pc:docMk/>
            <pc:sldMk cId="3413146875" sldId="2147482033"/>
            <ac:picMk id="31" creationId="{45116513-6D01-D671-A0AB-B25C684513B2}"/>
          </ac:picMkLst>
        </pc:picChg>
        <pc:picChg chg="del">
          <ac:chgData name="Ollervidez, Leticia" userId="12ccd2a1-d554-4cac-b492-4e314c2b5f8f" providerId="ADAL" clId="{64D21C05-5C8D-4A11-B08A-8C7DB5B33154}" dt="2026-03-30T21:48:26.338" v="71" actId="478"/>
          <ac:picMkLst>
            <pc:docMk/>
            <pc:sldMk cId="3413146875" sldId="2147482033"/>
            <ac:picMk id="32" creationId="{E50E5816-CB48-10BB-6A57-66394EB49440}"/>
          </ac:picMkLst>
        </pc:picChg>
        <pc:picChg chg="del">
          <ac:chgData name="Ollervidez, Leticia" userId="12ccd2a1-d554-4cac-b492-4e314c2b5f8f" providerId="ADAL" clId="{64D21C05-5C8D-4A11-B08A-8C7DB5B33154}" dt="2026-03-30T21:48:22.905" v="66" actId="478"/>
          <ac:picMkLst>
            <pc:docMk/>
            <pc:sldMk cId="3413146875" sldId="2147482033"/>
            <ac:picMk id="33" creationId="{DDACA729-0928-BE2F-C66D-BC8DACE57FAE}"/>
          </ac:picMkLst>
        </pc:picChg>
        <pc:picChg chg="del">
          <ac:chgData name="Ollervidez, Leticia" userId="12ccd2a1-d554-4cac-b492-4e314c2b5f8f" providerId="ADAL" clId="{64D21C05-5C8D-4A11-B08A-8C7DB5B33154}" dt="2026-03-30T21:48:22.410" v="65" actId="478"/>
          <ac:picMkLst>
            <pc:docMk/>
            <pc:sldMk cId="3413146875" sldId="2147482033"/>
            <ac:picMk id="34" creationId="{0D69A30B-40F9-FA50-D3BD-C7161AE33C32}"/>
          </ac:picMkLst>
        </pc:picChg>
        <pc:picChg chg="del">
          <ac:chgData name="Ollervidez, Leticia" userId="12ccd2a1-d554-4cac-b492-4e314c2b5f8f" providerId="ADAL" clId="{64D21C05-5C8D-4A11-B08A-8C7DB5B33154}" dt="2026-03-30T21:48:18.537" v="59" actId="478"/>
          <ac:picMkLst>
            <pc:docMk/>
            <pc:sldMk cId="3413146875" sldId="2147482033"/>
            <ac:picMk id="35" creationId="{AF71C08D-286D-549A-1125-D2A2F0A47C9B}"/>
          </ac:picMkLst>
        </pc:picChg>
        <pc:picChg chg="del">
          <ac:chgData name="Ollervidez, Leticia" userId="12ccd2a1-d554-4cac-b492-4e314c2b5f8f" providerId="ADAL" clId="{64D21C05-5C8D-4A11-B08A-8C7DB5B33154}" dt="2026-03-30T21:48:01.314" v="53" actId="478"/>
          <ac:picMkLst>
            <pc:docMk/>
            <pc:sldMk cId="3413146875" sldId="2147482033"/>
            <ac:picMk id="37" creationId="{5E64BB97-95DE-12AD-7E23-17715C7124A7}"/>
          </ac:picMkLst>
        </pc:picChg>
        <pc:picChg chg="del">
          <ac:chgData name="Ollervidez, Leticia" userId="12ccd2a1-d554-4cac-b492-4e314c2b5f8f" providerId="ADAL" clId="{64D21C05-5C8D-4A11-B08A-8C7DB5B33154}" dt="2026-03-30T21:49:06.610" v="138" actId="478"/>
          <ac:picMkLst>
            <pc:docMk/>
            <pc:sldMk cId="3413146875" sldId="2147482033"/>
            <ac:picMk id="41" creationId="{A5E509FD-9452-E0F1-6352-EBB4361CBA3D}"/>
          </ac:picMkLst>
        </pc:picChg>
        <pc:picChg chg="del">
          <ac:chgData name="Ollervidez, Leticia" userId="12ccd2a1-d554-4cac-b492-4e314c2b5f8f" providerId="ADAL" clId="{64D21C05-5C8D-4A11-B08A-8C7DB5B33154}" dt="2026-03-30T21:49:05.617" v="137" actId="478"/>
          <ac:picMkLst>
            <pc:docMk/>
            <pc:sldMk cId="3413146875" sldId="2147482033"/>
            <ac:picMk id="42" creationId="{BD021534-72BC-A16D-F9FF-3ED08BA67F0E}"/>
          </ac:picMkLst>
        </pc:picChg>
        <pc:picChg chg="del">
          <ac:chgData name="Ollervidez, Leticia" userId="12ccd2a1-d554-4cac-b492-4e314c2b5f8f" providerId="ADAL" clId="{64D21C05-5C8D-4A11-B08A-8C7DB5B33154}" dt="2026-03-30T21:48:37.234" v="93" actId="478"/>
          <ac:picMkLst>
            <pc:docMk/>
            <pc:sldMk cId="3413146875" sldId="2147482033"/>
            <ac:picMk id="43" creationId="{17BC51CA-8A97-D48C-A012-A5E8C69CCFDC}"/>
          </ac:picMkLst>
        </pc:picChg>
        <pc:picChg chg="del">
          <ac:chgData name="Ollervidez, Leticia" userId="12ccd2a1-d554-4cac-b492-4e314c2b5f8f" providerId="ADAL" clId="{64D21C05-5C8D-4A11-B08A-8C7DB5B33154}" dt="2026-03-30T21:48:36.941" v="92" actId="478"/>
          <ac:picMkLst>
            <pc:docMk/>
            <pc:sldMk cId="3413146875" sldId="2147482033"/>
            <ac:picMk id="44" creationId="{0F9B9217-FBEC-5390-FD89-16A27B885173}"/>
          </ac:picMkLst>
        </pc:picChg>
        <pc:picChg chg="del">
          <ac:chgData name="Ollervidez, Leticia" userId="12ccd2a1-d554-4cac-b492-4e314c2b5f8f" providerId="ADAL" clId="{64D21C05-5C8D-4A11-B08A-8C7DB5B33154}" dt="2026-03-30T21:48:58.034" v="130" actId="478"/>
          <ac:picMkLst>
            <pc:docMk/>
            <pc:sldMk cId="3413146875" sldId="2147482033"/>
            <ac:picMk id="45" creationId="{8B523351-0FE0-25F4-314A-BF16EE6DA573}"/>
          </ac:picMkLst>
        </pc:picChg>
        <pc:picChg chg="del">
          <ac:chgData name="Ollervidez, Leticia" userId="12ccd2a1-d554-4cac-b492-4e314c2b5f8f" providerId="ADAL" clId="{64D21C05-5C8D-4A11-B08A-8C7DB5B33154}" dt="2026-03-30T21:49:03.229" v="135" actId="478"/>
          <ac:picMkLst>
            <pc:docMk/>
            <pc:sldMk cId="3413146875" sldId="2147482033"/>
            <ac:picMk id="46" creationId="{BD66D14F-3C44-AFAC-95A8-845DE5D6E47E}"/>
          </ac:picMkLst>
        </pc:picChg>
        <pc:picChg chg="del">
          <ac:chgData name="Ollervidez, Leticia" userId="12ccd2a1-d554-4cac-b492-4e314c2b5f8f" providerId="ADAL" clId="{64D21C05-5C8D-4A11-B08A-8C7DB5B33154}" dt="2026-03-30T21:48:57.060" v="129" actId="478"/>
          <ac:picMkLst>
            <pc:docMk/>
            <pc:sldMk cId="3413146875" sldId="2147482033"/>
            <ac:picMk id="47" creationId="{BCE199F9-962C-A5A1-1018-9392B7DBE8A9}"/>
          </ac:picMkLst>
        </pc:picChg>
        <pc:picChg chg="del">
          <ac:chgData name="Ollervidez, Leticia" userId="12ccd2a1-d554-4cac-b492-4e314c2b5f8f" providerId="ADAL" clId="{64D21C05-5C8D-4A11-B08A-8C7DB5B33154}" dt="2026-03-30T21:48:55.364" v="127" actId="478"/>
          <ac:picMkLst>
            <pc:docMk/>
            <pc:sldMk cId="3413146875" sldId="2147482033"/>
            <ac:picMk id="48" creationId="{47B2FC8C-3694-1D6B-C679-5F1516FD76CE}"/>
          </ac:picMkLst>
        </pc:picChg>
        <pc:picChg chg="del">
          <ac:chgData name="Ollervidez, Leticia" userId="12ccd2a1-d554-4cac-b492-4e314c2b5f8f" providerId="ADAL" clId="{64D21C05-5C8D-4A11-B08A-8C7DB5B33154}" dt="2026-03-30T21:48:56.259" v="128" actId="478"/>
          <ac:picMkLst>
            <pc:docMk/>
            <pc:sldMk cId="3413146875" sldId="2147482033"/>
            <ac:picMk id="49" creationId="{69B8E1BA-15AF-244B-AC67-FFAE19F9F4B6}"/>
          </ac:picMkLst>
        </pc:picChg>
        <pc:picChg chg="del">
          <ac:chgData name="Ollervidez, Leticia" userId="12ccd2a1-d554-4cac-b492-4e314c2b5f8f" providerId="ADAL" clId="{64D21C05-5C8D-4A11-B08A-8C7DB5B33154}" dt="2026-03-30T21:49:04.433" v="136" actId="478"/>
          <ac:picMkLst>
            <pc:docMk/>
            <pc:sldMk cId="3413146875" sldId="2147482033"/>
            <ac:picMk id="50" creationId="{1A0447CA-CB12-39CE-33C4-582EAA0291C9}"/>
          </ac:picMkLst>
        </pc:picChg>
        <pc:picChg chg="del">
          <ac:chgData name="Ollervidez, Leticia" userId="12ccd2a1-d554-4cac-b492-4e314c2b5f8f" providerId="ADAL" clId="{64D21C05-5C8D-4A11-B08A-8C7DB5B33154}" dt="2026-03-30T21:48:50.738" v="122" actId="478"/>
          <ac:picMkLst>
            <pc:docMk/>
            <pc:sldMk cId="3413146875" sldId="2147482033"/>
            <ac:picMk id="51" creationId="{2ABC8E50-1579-02F9-79F8-F1934544D07D}"/>
          </ac:picMkLst>
        </pc:picChg>
        <pc:picChg chg="del">
          <ac:chgData name="Ollervidez, Leticia" userId="12ccd2a1-d554-4cac-b492-4e314c2b5f8f" providerId="ADAL" clId="{64D21C05-5C8D-4A11-B08A-8C7DB5B33154}" dt="2026-03-30T21:48:47.970" v="119" actId="478"/>
          <ac:picMkLst>
            <pc:docMk/>
            <pc:sldMk cId="3413146875" sldId="2147482033"/>
            <ac:picMk id="52" creationId="{90FAEBB4-8FE2-5FA0-D438-F50C0DC608B5}"/>
          </ac:picMkLst>
        </pc:picChg>
        <pc:picChg chg="del">
          <ac:chgData name="Ollervidez, Leticia" userId="12ccd2a1-d554-4cac-b492-4e314c2b5f8f" providerId="ADAL" clId="{64D21C05-5C8D-4A11-B08A-8C7DB5B33154}" dt="2026-03-30T21:48:47.378" v="118" actId="478"/>
          <ac:picMkLst>
            <pc:docMk/>
            <pc:sldMk cId="3413146875" sldId="2147482033"/>
            <ac:picMk id="53" creationId="{1D7D1D77-3E08-15F4-1FB5-69DE6576F8E1}"/>
          </ac:picMkLst>
        </pc:picChg>
        <pc:picChg chg="del mod">
          <ac:chgData name="Ollervidez, Leticia" userId="12ccd2a1-d554-4cac-b492-4e314c2b5f8f" providerId="ADAL" clId="{64D21C05-5C8D-4A11-B08A-8C7DB5B33154}" dt="2026-03-30T21:48:40.345" v="106" actId="478"/>
          <ac:picMkLst>
            <pc:docMk/>
            <pc:sldMk cId="3413146875" sldId="2147482033"/>
            <ac:picMk id="54" creationId="{7E236373-717A-A5DA-729E-A02A04397AC9}"/>
          </ac:picMkLst>
        </pc:picChg>
        <pc:picChg chg="del">
          <ac:chgData name="Ollervidez, Leticia" userId="12ccd2a1-d554-4cac-b492-4e314c2b5f8f" providerId="ADAL" clId="{64D21C05-5C8D-4A11-B08A-8C7DB5B33154}" dt="2026-03-30T21:48:40.683" v="107" actId="478"/>
          <ac:picMkLst>
            <pc:docMk/>
            <pc:sldMk cId="3413146875" sldId="2147482033"/>
            <ac:picMk id="55" creationId="{19D17425-0B1E-1A0B-5383-15AE011EA6EE}"/>
          </ac:picMkLst>
        </pc:picChg>
        <pc:picChg chg="del">
          <ac:chgData name="Ollervidez, Leticia" userId="12ccd2a1-d554-4cac-b492-4e314c2b5f8f" providerId="ADAL" clId="{64D21C05-5C8D-4A11-B08A-8C7DB5B33154}" dt="2026-03-30T21:48:46.515" v="117" actId="478"/>
          <ac:picMkLst>
            <pc:docMk/>
            <pc:sldMk cId="3413146875" sldId="2147482033"/>
            <ac:picMk id="56" creationId="{4BD29C2D-1A7E-552D-CCCE-B2428F1E4671}"/>
          </ac:picMkLst>
        </pc:picChg>
        <pc:picChg chg="del mod">
          <ac:chgData name="Ollervidez, Leticia" userId="12ccd2a1-d554-4cac-b492-4e314c2b5f8f" providerId="ADAL" clId="{64D21C05-5C8D-4A11-B08A-8C7DB5B33154}" dt="2026-03-30T21:48:36.701" v="91" actId="478"/>
          <ac:picMkLst>
            <pc:docMk/>
            <pc:sldMk cId="3413146875" sldId="2147482033"/>
            <ac:picMk id="57" creationId="{E5C1C184-4397-3267-22D7-27DF978B46C9}"/>
          </ac:picMkLst>
        </pc:picChg>
        <pc:picChg chg="del mod">
          <ac:chgData name="Ollervidez, Leticia" userId="12ccd2a1-d554-4cac-b492-4e314c2b5f8f" providerId="ADAL" clId="{64D21C05-5C8D-4A11-B08A-8C7DB5B33154}" dt="2026-03-30T21:48:39.019" v="99" actId="478"/>
          <ac:picMkLst>
            <pc:docMk/>
            <pc:sldMk cId="3413146875" sldId="2147482033"/>
            <ac:picMk id="58" creationId="{B5C9394A-4D0E-ED00-4428-31653BE63DA1}"/>
          </ac:picMkLst>
        </pc:picChg>
        <pc:picChg chg="del">
          <ac:chgData name="Ollervidez, Leticia" userId="12ccd2a1-d554-4cac-b492-4e314c2b5f8f" providerId="ADAL" clId="{64D21C05-5C8D-4A11-B08A-8C7DB5B33154}" dt="2026-03-30T21:48:34.587" v="82" actId="478"/>
          <ac:picMkLst>
            <pc:docMk/>
            <pc:sldMk cId="3413146875" sldId="2147482033"/>
            <ac:picMk id="59" creationId="{8106C373-90C8-21D1-F6B8-8B2825E7BFFA}"/>
          </ac:picMkLst>
        </pc:picChg>
        <pc:picChg chg="del">
          <ac:chgData name="Ollervidez, Leticia" userId="12ccd2a1-d554-4cac-b492-4e314c2b5f8f" providerId="ADAL" clId="{64D21C05-5C8D-4A11-B08A-8C7DB5B33154}" dt="2026-03-30T21:49:00.730" v="133" actId="478"/>
          <ac:picMkLst>
            <pc:docMk/>
            <pc:sldMk cId="3413146875" sldId="2147482033"/>
            <ac:picMk id="60" creationId="{F402D38C-DA20-D98B-1596-2EA65142CBCA}"/>
          </ac:picMkLst>
        </pc:picChg>
        <pc:picChg chg="del">
          <ac:chgData name="Ollervidez, Leticia" userId="12ccd2a1-d554-4cac-b492-4e314c2b5f8f" providerId="ADAL" clId="{64D21C05-5C8D-4A11-B08A-8C7DB5B33154}" dt="2026-03-30T21:49:01.497" v="134" actId="478"/>
          <ac:picMkLst>
            <pc:docMk/>
            <pc:sldMk cId="3413146875" sldId="2147482033"/>
            <ac:picMk id="61" creationId="{6FA5708B-595A-3258-1684-B926A05BF576}"/>
          </ac:picMkLst>
        </pc:picChg>
        <pc:picChg chg="del">
          <ac:chgData name="Ollervidez, Leticia" userId="12ccd2a1-d554-4cac-b492-4e314c2b5f8f" providerId="ADAL" clId="{64D21C05-5C8D-4A11-B08A-8C7DB5B33154}" dt="2026-03-30T21:48:53.638" v="125" actId="478"/>
          <ac:picMkLst>
            <pc:docMk/>
            <pc:sldMk cId="3413146875" sldId="2147482033"/>
            <ac:picMk id="62" creationId="{FA2C6D9A-7689-B699-8B15-2E480822F416}"/>
          </ac:picMkLst>
        </pc:picChg>
        <pc:picChg chg="del">
          <ac:chgData name="Ollervidez, Leticia" userId="12ccd2a1-d554-4cac-b492-4e314c2b5f8f" providerId="ADAL" clId="{64D21C05-5C8D-4A11-B08A-8C7DB5B33154}" dt="2026-03-30T21:48:54.795" v="126" actId="478"/>
          <ac:picMkLst>
            <pc:docMk/>
            <pc:sldMk cId="3413146875" sldId="2147482033"/>
            <ac:picMk id="63" creationId="{D2A808E2-B873-B263-E9BF-90E2E1DE1FA6}"/>
          </ac:picMkLst>
        </pc:picChg>
        <pc:picChg chg="del mod">
          <ac:chgData name="Ollervidez, Leticia" userId="12ccd2a1-d554-4cac-b492-4e314c2b5f8f" providerId="ADAL" clId="{64D21C05-5C8D-4A11-B08A-8C7DB5B33154}" dt="2026-03-30T21:48:36.410" v="89" actId="478"/>
          <ac:picMkLst>
            <pc:docMk/>
            <pc:sldMk cId="3413146875" sldId="2147482033"/>
            <ac:picMk id="64" creationId="{9CC63D58-8ABE-B588-6C5B-5E76809B7A3E}"/>
          </ac:picMkLst>
        </pc:picChg>
        <pc:picChg chg="del">
          <ac:chgData name="Ollervidez, Leticia" userId="12ccd2a1-d554-4cac-b492-4e314c2b5f8f" providerId="ADAL" clId="{64D21C05-5C8D-4A11-B08A-8C7DB5B33154}" dt="2026-03-30T21:48:35.913" v="86" actId="478"/>
          <ac:picMkLst>
            <pc:docMk/>
            <pc:sldMk cId="3413146875" sldId="2147482033"/>
            <ac:picMk id="65" creationId="{691D308B-CCA1-9754-40CC-92F99F9F754D}"/>
          </ac:picMkLst>
        </pc:picChg>
        <pc:picChg chg="del">
          <ac:chgData name="Ollervidez, Leticia" userId="12ccd2a1-d554-4cac-b492-4e314c2b5f8f" providerId="ADAL" clId="{64D21C05-5C8D-4A11-B08A-8C7DB5B33154}" dt="2026-03-30T21:48:35.685" v="85" actId="478"/>
          <ac:picMkLst>
            <pc:docMk/>
            <pc:sldMk cId="3413146875" sldId="2147482033"/>
            <ac:picMk id="66" creationId="{D0EB5EC1-190F-2D43-269A-EAF5819F9484}"/>
          </ac:picMkLst>
        </pc:picChg>
        <pc:picChg chg="del mod">
          <ac:chgData name="Ollervidez, Leticia" userId="12ccd2a1-d554-4cac-b492-4e314c2b5f8f" providerId="ADAL" clId="{64D21C05-5C8D-4A11-B08A-8C7DB5B33154}" dt="2026-03-30T21:48:40.087" v="104" actId="478"/>
          <ac:picMkLst>
            <pc:docMk/>
            <pc:sldMk cId="3413146875" sldId="2147482033"/>
            <ac:picMk id="67" creationId="{6052631A-BBF5-DFEC-DF99-CBFE664673EA}"/>
          </ac:picMkLst>
        </pc:picChg>
        <pc:picChg chg="del">
          <ac:chgData name="Ollervidez, Leticia" userId="12ccd2a1-d554-4cac-b492-4e314c2b5f8f" providerId="ADAL" clId="{64D21C05-5C8D-4A11-B08A-8C7DB5B33154}" dt="2026-03-30T21:48:51.953" v="123" actId="478"/>
          <ac:picMkLst>
            <pc:docMk/>
            <pc:sldMk cId="3413146875" sldId="2147482033"/>
            <ac:picMk id="68" creationId="{D9E0B560-1BEC-CE93-8380-DE3FF7EEB3F0}"/>
          </ac:picMkLst>
        </pc:picChg>
        <pc:picChg chg="del mod">
          <ac:chgData name="Ollervidez, Leticia" userId="12ccd2a1-d554-4cac-b492-4e314c2b5f8f" providerId="ADAL" clId="{64D21C05-5C8D-4A11-B08A-8C7DB5B33154}" dt="2026-03-30T21:48:41.801" v="112" actId="478"/>
          <ac:picMkLst>
            <pc:docMk/>
            <pc:sldMk cId="3413146875" sldId="2147482033"/>
            <ac:picMk id="69" creationId="{C35FDD9E-5818-302B-9B29-30F7B0B02A06}"/>
          </ac:picMkLst>
        </pc:picChg>
        <pc:picChg chg="del">
          <ac:chgData name="Ollervidez, Leticia" userId="12ccd2a1-d554-4cac-b492-4e314c2b5f8f" providerId="ADAL" clId="{64D21C05-5C8D-4A11-B08A-8C7DB5B33154}" dt="2026-03-30T21:48:41.497" v="110" actId="478"/>
          <ac:picMkLst>
            <pc:docMk/>
            <pc:sldMk cId="3413146875" sldId="2147482033"/>
            <ac:picMk id="70" creationId="{C9D78F34-4317-4300-9E11-14AA050FA658}"/>
          </ac:picMkLst>
        </pc:picChg>
        <pc:picChg chg="del mod">
          <ac:chgData name="Ollervidez, Leticia" userId="12ccd2a1-d554-4cac-b492-4e314c2b5f8f" providerId="ADAL" clId="{64D21C05-5C8D-4A11-B08A-8C7DB5B33154}" dt="2026-03-30T21:48:41.160" v="109" actId="478"/>
          <ac:picMkLst>
            <pc:docMk/>
            <pc:sldMk cId="3413146875" sldId="2147482033"/>
            <ac:picMk id="71" creationId="{0D6341E9-2F24-2F59-97A4-958EE109A0F1}"/>
          </ac:picMkLst>
        </pc:picChg>
        <pc:picChg chg="del">
          <ac:chgData name="Ollervidez, Leticia" userId="12ccd2a1-d554-4cac-b492-4e314c2b5f8f" providerId="ADAL" clId="{64D21C05-5C8D-4A11-B08A-8C7DB5B33154}" dt="2026-03-30T21:48:45.907" v="116" actId="478"/>
          <ac:picMkLst>
            <pc:docMk/>
            <pc:sldMk cId="3413146875" sldId="2147482033"/>
            <ac:picMk id="72" creationId="{C460E87C-1535-7EB8-AB2D-C1BF4012CDD9}"/>
          </ac:picMkLst>
        </pc:picChg>
        <pc:picChg chg="del">
          <ac:chgData name="Ollervidez, Leticia" userId="12ccd2a1-d554-4cac-b492-4e314c2b5f8f" providerId="ADAL" clId="{64D21C05-5C8D-4A11-B08A-8C7DB5B33154}" dt="2026-03-30T21:48:38.697" v="97" actId="478"/>
          <ac:picMkLst>
            <pc:docMk/>
            <pc:sldMk cId="3413146875" sldId="2147482033"/>
            <ac:picMk id="73" creationId="{9A17C8F0-3D91-77A4-AC36-126F1DFB49DB}"/>
          </ac:picMkLst>
        </pc:picChg>
        <pc:picChg chg="del">
          <ac:chgData name="Ollervidez, Leticia" userId="12ccd2a1-d554-4cac-b492-4e314c2b5f8f" providerId="ADAL" clId="{64D21C05-5C8D-4A11-B08A-8C7DB5B33154}" dt="2026-03-30T21:48:38.432" v="96" actId="478"/>
          <ac:picMkLst>
            <pc:docMk/>
            <pc:sldMk cId="3413146875" sldId="2147482033"/>
            <ac:picMk id="74" creationId="{F1914491-7DAB-8E16-88EB-EF4D37635CD5}"/>
          </ac:picMkLst>
        </pc:picChg>
        <pc:picChg chg="del mod">
          <ac:chgData name="Ollervidez, Leticia" userId="12ccd2a1-d554-4cac-b492-4e314c2b5f8f" providerId="ADAL" clId="{64D21C05-5C8D-4A11-B08A-8C7DB5B33154}" dt="2026-03-30T21:48:38.121" v="95" actId="478"/>
          <ac:picMkLst>
            <pc:docMk/>
            <pc:sldMk cId="3413146875" sldId="2147482033"/>
            <ac:picMk id="75" creationId="{016BEFE8-2F10-76F3-66A4-161604CB652C}"/>
          </ac:picMkLst>
        </pc:picChg>
        <pc:picChg chg="del">
          <ac:chgData name="Ollervidez, Leticia" userId="12ccd2a1-d554-4cac-b492-4e314c2b5f8f" providerId="ADAL" clId="{64D21C05-5C8D-4A11-B08A-8C7DB5B33154}" dt="2026-03-30T21:48:58.996" v="131" actId="478"/>
          <ac:picMkLst>
            <pc:docMk/>
            <pc:sldMk cId="3413146875" sldId="2147482033"/>
            <ac:picMk id="76" creationId="{83755DF2-FB57-6FAF-C43B-3B239E731BF9}"/>
          </ac:picMkLst>
        </pc:picChg>
        <pc:picChg chg="del mod">
          <ac:chgData name="Ollervidez, Leticia" userId="12ccd2a1-d554-4cac-b492-4e314c2b5f8f" providerId="ADAL" clId="{64D21C05-5C8D-4A11-B08A-8C7DB5B33154}" dt="2026-03-30T21:48:39.357" v="101" actId="478"/>
          <ac:picMkLst>
            <pc:docMk/>
            <pc:sldMk cId="3413146875" sldId="2147482033"/>
            <ac:picMk id="77" creationId="{170EF015-B8EC-23FA-B6B6-EB93294A8D62}"/>
          </ac:picMkLst>
        </pc:picChg>
        <pc:picChg chg="del">
          <ac:chgData name="Ollervidez, Leticia" userId="12ccd2a1-d554-4cac-b492-4e314c2b5f8f" providerId="ADAL" clId="{64D21C05-5C8D-4A11-B08A-8C7DB5B33154}" dt="2026-03-30T21:48:59.827" v="132" actId="478"/>
          <ac:picMkLst>
            <pc:docMk/>
            <pc:sldMk cId="3413146875" sldId="2147482033"/>
            <ac:picMk id="78" creationId="{58A7F429-AE2C-570C-843D-99EEA1583475}"/>
          </ac:picMkLst>
        </pc:picChg>
        <pc:picChg chg="del">
          <ac:chgData name="Ollervidez, Leticia" userId="12ccd2a1-d554-4cac-b492-4e314c2b5f8f" providerId="ADAL" clId="{64D21C05-5C8D-4A11-B08A-8C7DB5B33154}" dt="2026-03-30T21:48:52.857" v="124" actId="478"/>
          <ac:picMkLst>
            <pc:docMk/>
            <pc:sldMk cId="3413146875" sldId="2147482033"/>
            <ac:picMk id="79" creationId="{BD9750AD-A5FD-B059-DFE1-0AF332C52486}"/>
          </ac:picMkLst>
        </pc:picChg>
        <pc:picChg chg="del">
          <ac:chgData name="Ollervidez, Leticia" userId="12ccd2a1-d554-4cac-b492-4e314c2b5f8f" providerId="ADAL" clId="{64D21C05-5C8D-4A11-B08A-8C7DB5B33154}" dt="2026-03-30T21:48:39.570" v="102" actId="478"/>
          <ac:picMkLst>
            <pc:docMk/>
            <pc:sldMk cId="3413146875" sldId="2147482033"/>
            <ac:picMk id="80" creationId="{F1948900-2F35-256B-13A5-C80168017BEC}"/>
          </ac:picMkLst>
        </pc:picChg>
        <pc:picChg chg="del">
          <ac:chgData name="Ollervidez, Leticia" userId="12ccd2a1-d554-4cac-b492-4e314c2b5f8f" providerId="ADAL" clId="{64D21C05-5C8D-4A11-B08A-8C7DB5B33154}" dt="2026-03-30T21:48:36.174" v="87" actId="478"/>
          <ac:picMkLst>
            <pc:docMk/>
            <pc:sldMk cId="3413146875" sldId="2147482033"/>
            <ac:picMk id="81" creationId="{3068856C-22CC-A51B-0976-A461AC610136}"/>
          </ac:picMkLst>
        </pc:picChg>
        <pc:picChg chg="del">
          <ac:chgData name="Ollervidez, Leticia" userId="12ccd2a1-d554-4cac-b492-4e314c2b5f8f" providerId="ADAL" clId="{64D21C05-5C8D-4A11-B08A-8C7DB5B33154}" dt="2026-03-30T21:48:48.641" v="120" actId="478"/>
          <ac:picMkLst>
            <pc:docMk/>
            <pc:sldMk cId="3413146875" sldId="2147482033"/>
            <ac:picMk id="82" creationId="{3BDEEB32-38BA-BFD4-F1DD-0B64BE95BFC4}"/>
          </ac:picMkLst>
        </pc:picChg>
        <pc:picChg chg="del">
          <ac:chgData name="Ollervidez, Leticia" userId="12ccd2a1-d554-4cac-b492-4e314c2b5f8f" providerId="ADAL" clId="{64D21C05-5C8D-4A11-B08A-8C7DB5B33154}" dt="2026-03-30T21:48:49.859" v="121" actId="478"/>
          <ac:picMkLst>
            <pc:docMk/>
            <pc:sldMk cId="3413146875" sldId="2147482033"/>
            <ac:picMk id="83" creationId="{C11B812D-9320-3D50-D028-5145954D7BD7}"/>
          </ac:picMkLst>
        </pc:picChg>
        <pc:picChg chg="del">
          <ac:chgData name="Ollervidez, Leticia" userId="12ccd2a1-d554-4cac-b492-4e314c2b5f8f" providerId="ADAL" clId="{64D21C05-5C8D-4A11-B08A-8C7DB5B33154}" dt="2026-03-30T21:48:35.433" v="84" actId="478"/>
          <ac:picMkLst>
            <pc:docMk/>
            <pc:sldMk cId="3413146875" sldId="2147482033"/>
            <ac:picMk id="84" creationId="{19CEB3E5-671B-6962-8BC1-169655996CA4}"/>
          </ac:picMkLst>
        </pc:picChg>
        <pc:picChg chg="del">
          <ac:chgData name="Ollervidez, Leticia" userId="12ccd2a1-d554-4cac-b492-4e314c2b5f8f" providerId="ADAL" clId="{64D21C05-5C8D-4A11-B08A-8C7DB5B33154}" dt="2026-03-30T21:48:43.474" v="113" actId="478"/>
          <ac:picMkLst>
            <pc:docMk/>
            <pc:sldMk cId="3413146875" sldId="2147482033"/>
            <ac:picMk id="85" creationId="{1F15A7C7-7049-20A0-A4A6-70EEDC0CDF50}"/>
          </ac:picMkLst>
        </pc:picChg>
        <pc:picChg chg="del">
          <ac:chgData name="Ollervidez, Leticia" userId="12ccd2a1-d554-4cac-b492-4e314c2b5f8f" providerId="ADAL" clId="{64D21C05-5C8D-4A11-B08A-8C7DB5B33154}" dt="2026-03-30T21:48:35.130" v="83" actId="478"/>
          <ac:picMkLst>
            <pc:docMk/>
            <pc:sldMk cId="3413146875" sldId="2147482033"/>
            <ac:picMk id="86" creationId="{55DDBF84-4090-40CC-77C3-0EE256550CC2}"/>
          </ac:picMkLst>
        </pc:picChg>
        <pc:picChg chg="del">
          <ac:chgData name="Ollervidez, Leticia" userId="12ccd2a1-d554-4cac-b492-4e314c2b5f8f" providerId="ADAL" clId="{64D21C05-5C8D-4A11-B08A-8C7DB5B33154}" dt="2026-03-30T21:48:43.850" v="114" actId="478"/>
          <ac:picMkLst>
            <pc:docMk/>
            <pc:sldMk cId="3413146875" sldId="2147482033"/>
            <ac:picMk id="87" creationId="{B55ED367-A727-924B-809E-C47A4132BAFA}"/>
          </ac:picMkLst>
        </pc:picChg>
        <pc:picChg chg="del">
          <ac:chgData name="Ollervidez, Leticia" userId="12ccd2a1-d554-4cac-b492-4e314c2b5f8f" providerId="ADAL" clId="{64D21C05-5C8D-4A11-B08A-8C7DB5B33154}" dt="2026-03-30T21:48:45.227" v="115" actId="478"/>
          <ac:picMkLst>
            <pc:docMk/>
            <pc:sldMk cId="3413146875" sldId="2147482033"/>
            <ac:picMk id="88" creationId="{0247E206-2D9E-14EE-494A-581BA56D8373}"/>
          </ac:picMkLst>
        </pc:picChg>
        <pc:picChg chg="del">
          <ac:chgData name="Ollervidez, Leticia" userId="12ccd2a1-d554-4cac-b492-4e314c2b5f8f" providerId="ADAL" clId="{64D21C05-5C8D-4A11-B08A-8C7DB5B33154}" dt="2026-03-30T21:48:04.380" v="54" actId="478"/>
          <ac:picMkLst>
            <pc:docMk/>
            <pc:sldMk cId="3413146875" sldId="2147482033"/>
            <ac:picMk id="89" creationId="{1A73A558-CEF6-EC4A-FCA2-260F4020F643}"/>
          </ac:picMkLst>
        </pc:picChg>
        <pc:picChg chg="add mod">
          <ac:chgData name="Ollervidez, Leticia" userId="12ccd2a1-d554-4cac-b492-4e314c2b5f8f" providerId="ADAL" clId="{64D21C05-5C8D-4A11-B08A-8C7DB5B33154}" dt="2026-03-30T21:58:07.804" v="178" actId="962"/>
          <ac:picMkLst>
            <pc:docMk/>
            <pc:sldMk cId="3413146875" sldId="2147482033"/>
            <ac:picMk id="93" creationId="{1533E710-B1CD-92B7-7328-05B89DA5D3D2}"/>
          </ac:picMkLst>
        </pc:picChg>
      </pc:sldChg>
      <pc:sldChg chg="modSp mod">
        <pc:chgData name="Ollervidez, Leticia" userId="12ccd2a1-d554-4cac-b492-4e314c2b5f8f" providerId="ADAL" clId="{64D21C05-5C8D-4A11-B08A-8C7DB5B33154}" dt="2026-03-30T21:57:19.045" v="170" actId="207"/>
        <pc:sldMkLst>
          <pc:docMk/>
          <pc:sldMk cId="171448779" sldId="2147482034"/>
        </pc:sldMkLst>
        <pc:spChg chg="mod">
          <ac:chgData name="Ollervidez, Leticia" userId="12ccd2a1-d554-4cac-b492-4e314c2b5f8f" providerId="ADAL" clId="{64D21C05-5C8D-4A11-B08A-8C7DB5B33154}" dt="2026-03-30T21:57:19.045" v="170" actId="207"/>
          <ac:spMkLst>
            <pc:docMk/>
            <pc:sldMk cId="171448779" sldId="2147482034"/>
            <ac:spMk id="2" creationId="{592BC7D6-3533-5599-78E4-8CFF1673D557}"/>
          </ac:spMkLst>
        </pc:spChg>
      </pc:sldChg>
      <pc:sldChg chg="addSp delSp modSp mod">
        <pc:chgData name="Ollervidez, Leticia" userId="12ccd2a1-d554-4cac-b492-4e314c2b5f8f" providerId="ADAL" clId="{64D21C05-5C8D-4A11-B08A-8C7DB5B33154}" dt="2026-03-30T21:57:44.509" v="174" actId="962"/>
        <pc:sldMkLst>
          <pc:docMk/>
          <pc:sldMk cId="3355018478" sldId="2147482039"/>
        </pc:sldMkLst>
        <pc:spChg chg="ord">
          <ac:chgData name="Ollervidez, Leticia" userId="12ccd2a1-d554-4cac-b492-4e314c2b5f8f" providerId="ADAL" clId="{64D21C05-5C8D-4A11-B08A-8C7DB5B33154}" dt="2026-03-30T21:43:05.134" v="8" actId="13244"/>
          <ac:spMkLst>
            <pc:docMk/>
            <pc:sldMk cId="3355018478" sldId="2147482039"/>
            <ac:spMk id="3" creationId="{0445B7A7-6C15-A702-84B4-4F9AA15ACF0B}"/>
          </ac:spMkLst>
        </pc:spChg>
        <pc:spChg chg="ord">
          <ac:chgData name="Ollervidez, Leticia" userId="12ccd2a1-d554-4cac-b492-4e314c2b5f8f" providerId="ADAL" clId="{64D21C05-5C8D-4A11-B08A-8C7DB5B33154}" dt="2026-03-30T21:41:42.860" v="1" actId="13244"/>
          <ac:spMkLst>
            <pc:docMk/>
            <pc:sldMk cId="3355018478" sldId="2147482039"/>
            <ac:spMk id="4" creationId="{BCFFF128-74EC-88C2-0D7A-E8EE2EFD6BC8}"/>
          </ac:spMkLst>
        </pc:spChg>
        <pc:spChg chg="ord">
          <ac:chgData name="Ollervidez, Leticia" userId="12ccd2a1-d554-4cac-b492-4e314c2b5f8f" providerId="ADAL" clId="{64D21C05-5C8D-4A11-B08A-8C7DB5B33154}" dt="2026-03-30T21:42:02.346" v="4" actId="13244"/>
          <ac:spMkLst>
            <pc:docMk/>
            <pc:sldMk cId="3355018478" sldId="2147482039"/>
            <ac:spMk id="5" creationId="{7A0A4651-8524-727D-006B-E9463884C7CD}"/>
          </ac:spMkLst>
        </pc:spChg>
        <pc:spChg chg="ord">
          <ac:chgData name="Ollervidez, Leticia" userId="12ccd2a1-d554-4cac-b492-4e314c2b5f8f" providerId="ADAL" clId="{64D21C05-5C8D-4A11-B08A-8C7DB5B33154}" dt="2026-03-30T21:41:46.928" v="2" actId="13244"/>
          <ac:spMkLst>
            <pc:docMk/>
            <pc:sldMk cId="3355018478" sldId="2147482039"/>
            <ac:spMk id="12" creationId="{4C68E8D0-EFD1-6764-72AF-EDB75B9F44CC}"/>
          </ac:spMkLst>
        </pc:spChg>
        <pc:spChg chg="add del mod ord">
          <ac:chgData name="Ollervidez, Leticia" userId="12ccd2a1-d554-4cac-b492-4e314c2b5f8f" providerId="ADAL" clId="{64D21C05-5C8D-4A11-B08A-8C7DB5B33154}" dt="2026-03-30T21:53:17.930" v="159" actId="962"/>
          <ac:spMkLst>
            <pc:docMk/>
            <pc:sldMk cId="3355018478" sldId="2147482039"/>
            <ac:spMk id="16" creationId="{FA4D7B5E-2C99-0A3D-0EE7-011C3B3877A3}"/>
          </ac:spMkLst>
        </pc:spChg>
        <pc:picChg chg="mod">
          <ac:chgData name="Ollervidez, Leticia" userId="12ccd2a1-d554-4cac-b492-4e314c2b5f8f" providerId="ADAL" clId="{64D21C05-5C8D-4A11-B08A-8C7DB5B33154}" dt="2026-03-30T21:57:44.509" v="174" actId="962"/>
          <ac:picMkLst>
            <pc:docMk/>
            <pc:sldMk cId="3355018478" sldId="2147482039"/>
            <ac:picMk id="6" creationId="{AC645A44-C90E-F2D2-1804-60D6D7BB067E}"/>
          </ac:picMkLst>
        </pc:picChg>
        <pc:picChg chg="mod ord">
          <ac:chgData name="Ollervidez, Leticia" userId="12ccd2a1-d554-4cac-b492-4e314c2b5f8f" providerId="ADAL" clId="{64D21C05-5C8D-4A11-B08A-8C7DB5B33154}" dt="2026-03-30T21:57:32.040" v="172" actId="962"/>
          <ac:picMkLst>
            <pc:docMk/>
            <pc:sldMk cId="3355018478" sldId="2147482039"/>
            <ac:picMk id="13" creationId="{938C2456-B894-B404-266C-22E91497F61F}"/>
          </ac:picMkLst>
        </pc:picChg>
      </pc:sldChg>
      <pc:sldChg chg="modNotes">
        <pc:chgData name="Ollervidez, Leticia" userId="12ccd2a1-d554-4cac-b492-4e314c2b5f8f" providerId="ADAL" clId="{64D21C05-5C8D-4A11-B08A-8C7DB5B33154}" dt="2026-03-30T22:02:55.327" v="188" actId="6549"/>
        <pc:sldMkLst>
          <pc:docMk/>
          <pc:sldMk cId="1691344505" sldId="2147482043"/>
        </pc:sldMkLst>
      </pc:sldChg>
      <pc:sldChg chg="addSp delSp modSp mod">
        <pc:chgData name="Ollervidez, Leticia" userId="12ccd2a1-d554-4cac-b492-4e314c2b5f8f" providerId="ADAL" clId="{64D21C05-5C8D-4A11-B08A-8C7DB5B33154}" dt="2026-03-30T21:58:32.844" v="182" actId="962"/>
        <pc:sldMkLst>
          <pc:docMk/>
          <pc:sldMk cId="1639311678" sldId="2147482045"/>
        </pc:sldMkLst>
        <pc:spChg chg="del">
          <ac:chgData name="Ollervidez, Leticia" userId="12ccd2a1-d554-4cac-b492-4e314c2b5f8f" providerId="ADAL" clId="{64D21C05-5C8D-4A11-B08A-8C7DB5B33154}" dt="2026-03-30T21:51:52.618" v="152" actId="478"/>
          <ac:spMkLst>
            <pc:docMk/>
            <pc:sldMk cId="1639311678" sldId="2147482045"/>
            <ac:spMk id="3" creationId="{A7F0097A-5BB2-071A-0354-DA8EDB8485A5}"/>
          </ac:spMkLst>
        </pc:spChg>
        <pc:spChg chg="del">
          <ac:chgData name="Ollervidez, Leticia" userId="12ccd2a1-d554-4cac-b492-4e314c2b5f8f" providerId="ADAL" clId="{64D21C05-5C8D-4A11-B08A-8C7DB5B33154}" dt="2026-03-30T21:51:41.833" v="149" actId="478"/>
          <ac:spMkLst>
            <pc:docMk/>
            <pc:sldMk cId="1639311678" sldId="2147482045"/>
            <ac:spMk id="6" creationId="{BF92F32B-01EB-26A7-B279-419C731C61F5}"/>
          </ac:spMkLst>
        </pc:spChg>
        <pc:spChg chg="add del mod">
          <ac:chgData name="Ollervidez, Leticia" userId="12ccd2a1-d554-4cac-b492-4e314c2b5f8f" providerId="ADAL" clId="{64D21C05-5C8D-4A11-B08A-8C7DB5B33154}" dt="2026-03-30T21:51:50.673" v="151" actId="478"/>
          <ac:spMkLst>
            <pc:docMk/>
            <pc:sldMk cId="1639311678" sldId="2147482045"/>
            <ac:spMk id="8" creationId="{42AE9EE3-B460-DC8B-4D7A-6D35E865AC65}"/>
          </ac:spMkLst>
        </pc:spChg>
        <pc:graphicFrameChg chg="del">
          <ac:chgData name="Ollervidez, Leticia" userId="12ccd2a1-d554-4cac-b492-4e314c2b5f8f" providerId="ADAL" clId="{64D21C05-5C8D-4A11-B08A-8C7DB5B33154}" dt="2026-03-30T21:51:44.848" v="150" actId="478"/>
          <ac:graphicFrameMkLst>
            <pc:docMk/>
            <pc:sldMk cId="1639311678" sldId="2147482045"/>
            <ac:graphicFrameMk id="5" creationId="{3BE1B610-D85E-5A69-7950-ACA561D81534}"/>
          </ac:graphicFrameMkLst>
        </pc:graphicFrameChg>
        <pc:picChg chg="add mod">
          <ac:chgData name="Ollervidez, Leticia" userId="12ccd2a1-d554-4cac-b492-4e314c2b5f8f" providerId="ADAL" clId="{64D21C05-5C8D-4A11-B08A-8C7DB5B33154}" dt="2026-03-30T21:58:32.844" v="182" actId="962"/>
          <ac:picMkLst>
            <pc:docMk/>
            <pc:sldMk cId="1639311678" sldId="2147482045"/>
            <ac:picMk id="10" creationId="{01B61F2A-9E77-12E3-6B6A-D6CEF5015110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B1977F-1343-4859-91BF-E8E6C69B972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5467027-88F7-419B-91FB-CCB5014D7511}">
      <dgm:prSet phldrT="[Text]"/>
      <dgm:spPr/>
      <dgm:t>
        <a:bodyPr/>
        <a:lstStyle/>
        <a:p>
          <a:pPr>
            <a:buNone/>
          </a:pPr>
          <a:r>
            <a:rPr lang="en-US" b="0" i="0"/>
            <a:t>Verifies student participation and instructional modality in virtual and hybrid programs.</a:t>
          </a:r>
          <a:endParaRPr lang="en-US"/>
        </a:p>
      </dgm:t>
    </dgm:pt>
    <dgm:pt modelId="{F54A5228-DFF1-43EC-9983-0459FE269D41}" type="parTrans" cxnId="{197670D3-3809-415F-ACBF-55B24BFD8173}">
      <dgm:prSet/>
      <dgm:spPr/>
      <dgm:t>
        <a:bodyPr/>
        <a:lstStyle/>
        <a:p>
          <a:endParaRPr lang="en-US"/>
        </a:p>
      </dgm:t>
    </dgm:pt>
    <dgm:pt modelId="{4463F8A0-3D07-4213-BE40-279EA67D79D9}" type="sibTrans" cxnId="{197670D3-3809-415F-ACBF-55B24BFD8173}">
      <dgm:prSet/>
      <dgm:spPr/>
      <dgm:t>
        <a:bodyPr/>
        <a:lstStyle/>
        <a:p>
          <a:endParaRPr lang="en-US"/>
        </a:p>
      </dgm:t>
    </dgm:pt>
    <dgm:pt modelId="{F58788B3-BBF3-45E4-AEA7-2B0C6B9DB0EC}">
      <dgm:prSet phldrT="[Text]"/>
      <dgm:spPr/>
      <dgm:t>
        <a:bodyPr/>
        <a:lstStyle/>
        <a:p>
          <a:pPr>
            <a:buNone/>
          </a:pPr>
          <a:r>
            <a:rPr lang="en-US" b="0" i="0"/>
            <a:t>Identifies school systems offering virtual and hybrid courses, programs, and campuses.</a:t>
          </a:r>
          <a:endParaRPr lang="en-US"/>
        </a:p>
      </dgm:t>
    </dgm:pt>
    <dgm:pt modelId="{EE3AA6BD-251D-4693-A8A3-5F55596F58CA}" type="parTrans" cxnId="{F6675778-B490-4729-B130-08E3BCD7398B}">
      <dgm:prSet/>
      <dgm:spPr/>
      <dgm:t>
        <a:bodyPr/>
        <a:lstStyle/>
        <a:p>
          <a:endParaRPr lang="en-US"/>
        </a:p>
      </dgm:t>
    </dgm:pt>
    <dgm:pt modelId="{9A2E90E5-0058-45BC-93D3-E4E4B34C541A}" type="sibTrans" cxnId="{F6675778-B490-4729-B130-08E3BCD7398B}">
      <dgm:prSet/>
      <dgm:spPr/>
      <dgm:t>
        <a:bodyPr/>
        <a:lstStyle/>
        <a:p>
          <a:endParaRPr lang="en-US"/>
        </a:p>
      </dgm:t>
    </dgm:pt>
    <dgm:pt modelId="{98705D23-917D-4989-8486-6E259EE37EF1}">
      <dgm:prSet phldrT="[Text]"/>
      <dgm:spPr/>
      <dgm:t>
        <a:bodyPr/>
        <a:lstStyle/>
        <a:p>
          <a:pPr>
            <a:buNone/>
          </a:pPr>
          <a:r>
            <a:rPr lang="en-US" b="0" i="0"/>
            <a:t> Provides insight into attendance patterns, course enrollment, and staffing in virtual and hybrid settings.</a:t>
          </a:r>
          <a:endParaRPr lang="en-US"/>
        </a:p>
      </dgm:t>
    </dgm:pt>
    <dgm:pt modelId="{63FAF3AE-C416-488C-A256-C0AACB4B84EF}" type="parTrans" cxnId="{9DF1C60C-67D4-470F-AE56-29FB7AEB8054}">
      <dgm:prSet/>
      <dgm:spPr/>
      <dgm:t>
        <a:bodyPr/>
        <a:lstStyle/>
        <a:p>
          <a:endParaRPr lang="en-US"/>
        </a:p>
      </dgm:t>
    </dgm:pt>
    <dgm:pt modelId="{7174005C-EDCB-4565-8FD0-B0237B5506DA}" type="sibTrans" cxnId="{9DF1C60C-67D4-470F-AE56-29FB7AEB8054}">
      <dgm:prSet/>
      <dgm:spPr/>
      <dgm:t>
        <a:bodyPr/>
        <a:lstStyle/>
        <a:p>
          <a:endParaRPr lang="en-US"/>
        </a:p>
      </dgm:t>
    </dgm:pt>
    <dgm:pt modelId="{642AFB2D-0F20-4864-95CF-95D9B4FF6235}">
      <dgm:prSet phldrT="[Text]"/>
      <dgm:spPr/>
      <dgm:t>
        <a:bodyPr/>
        <a:lstStyle/>
        <a:p>
          <a:pPr>
            <a:buNone/>
          </a:pPr>
          <a:r>
            <a:rPr lang="en-US" b="0" i="0"/>
            <a:t> Enables comparison of virtual and hybrid instructional data with in‑person settings.</a:t>
          </a:r>
          <a:endParaRPr lang="en-US"/>
        </a:p>
      </dgm:t>
    </dgm:pt>
    <dgm:pt modelId="{136CA731-9B4C-435B-9F72-5BD0F348311D}" type="parTrans" cxnId="{7A7389F1-4EB0-4AED-83A1-1F481F6431D1}">
      <dgm:prSet/>
      <dgm:spPr/>
      <dgm:t>
        <a:bodyPr/>
        <a:lstStyle/>
        <a:p>
          <a:endParaRPr lang="en-US"/>
        </a:p>
      </dgm:t>
    </dgm:pt>
    <dgm:pt modelId="{5D1AF962-30EF-42D4-A177-B3F5A52DC50C}" type="sibTrans" cxnId="{7A7389F1-4EB0-4AED-83A1-1F481F6431D1}">
      <dgm:prSet/>
      <dgm:spPr/>
      <dgm:t>
        <a:bodyPr/>
        <a:lstStyle/>
        <a:p>
          <a:endParaRPr lang="en-US"/>
        </a:p>
      </dgm:t>
    </dgm:pt>
    <dgm:pt modelId="{192081E4-4B32-4695-B81E-F99CCE853235}" type="pres">
      <dgm:prSet presAssocID="{86B1977F-1343-4859-91BF-E8E6C69B9729}" presName="Name0" presStyleCnt="0">
        <dgm:presLayoutVars>
          <dgm:chMax val="7"/>
          <dgm:chPref val="7"/>
          <dgm:dir/>
        </dgm:presLayoutVars>
      </dgm:prSet>
      <dgm:spPr/>
    </dgm:pt>
    <dgm:pt modelId="{2F867668-1BBF-452E-A34F-C918B9C5ECC5}" type="pres">
      <dgm:prSet presAssocID="{86B1977F-1343-4859-91BF-E8E6C69B9729}" presName="Name1" presStyleCnt="0"/>
      <dgm:spPr/>
    </dgm:pt>
    <dgm:pt modelId="{87CD54E2-5334-4606-806C-4217D4C32565}" type="pres">
      <dgm:prSet presAssocID="{86B1977F-1343-4859-91BF-E8E6C69B9729}" presName="cycle" presStyleCnt="0"/>
      <dgm:spPr/>
    </dgm:pt>
    <dgm:pt modelId="{225626FB-B61B-447B-9793-168B91D72591}" type="pres">
      <dgm:prSet presAssocID="{86B1977F-1343-4859-91BF-E8E6C69B9729}" presName="srcNode" presStyleLbl="node1" presStyleIdx="0" presStyleCnt="4"/>
      <dgm:spPr/>
    </dgm:pt>
    <dgm:pt modelId="{9DE430E9-3670-4B15-9D4F-6F7190D10C2C}" type="pres">
      <dgm:prSet presAssocID="{86B1977F-1343-4859-91BF-E8E6C69B9729}" presName="conn" presStyleLbl="parChTrans1D2" presStyleIdx="0" presStyleCnt="1"/>
      <dgm:spPr/>
    </dgm:pt>
    <dgm:pt modelId="{A763E5BE-1D9E-4579-901F-5D9B8D3B23BA}" type="pres">
      <dgm:prSet presAssocID="{86B1977F-1343-4859-91BF-E8E6C69B9729}" presName="extraNode" presStyleLbl="node1" presStyleIdx="0" presStyleCnt="4"/>
      <dgm:spPr/>
    </dgm:pt>
    <dgm:pt modelId="{38E9C8E2-C0EC-4DD1-B9B8-69935DE23609}" type="pres">
      <dgm:prSet presAssocID="{86B1977F-1343-4859-91BF-E8E6C69B9729}" presName="dstNode" presStyleLbl="node1" presStyleIdx="0" presStyleCnt="4"/>
      <dgm:spPr/>
    </dgm:pt>
    <dgm:pt modelId="{739D761A-E6E7-4A31-9E7B-9374D7E47139}" type="pres">
      <dgm:prSet presAssocID="{75467027-88F7-419B-91FB-CCB5014D7511}" presName="text_1" presStyleLbl="node1" presStyleIdx="0" presStyleCnt="4">
        <dgm:presLayoutVars>
          <dgm:bulletEnabled val="1"/>
        </dgm:presLayoutVars>
      </dgm:prSet>
      <dgm:spPr/>
    </dgm:pt>
    <dgm:pt modelId="{75844680-9F08-4292-9EF3-83317FF74825}" type="pres">
      <dgm:prSet presAssocID="{75467027-88F7-419B-91FB-CCB5014D7511}" presName="accent_1" presStyleCnt="0"/>
      <dgm:spPr/>
    </dgm:pt>
    <dgm:pt modelId="{E1F83804-08C5-470D-960B-4103E6F9AEA8}" type="pres">
      <dgm:prSet presAssocID="{75467027-88F7-419B-91FB-CCB5014D7511}" presName="accentRepeatNode" presStyleLbl="solidFgAcc1" presStyleIdx="0" presStyleCnt="4"/>
      <dgm:spPr/>
    </dgm:pt>
    <dgm:pt modelId="{91D83B19-46FB-4C4A-ACE2-82D890069169}" type="pres">
      <dgm:prSet presAssocID="{F58788B3-BBF3-45E4-AEA7-2B0C6B9DB0EC}" presName="text_2" presStyleLbl="node1" presStyleIdx="1" presStyleCnt="4">
        <dgm:presLayoutVars>
          <dgm:bulletEnabled val="1"/>
        </dgm:presLayoutVars>
      </dgm:prSet>
      <dgm:spPr/>
    </dgm:pt>
    <dgm:pt modelId="{72289D6F-FF02-4149-918F-9C2D413BD5E0}" type="pres">
      <dgm:prSet presAssocID="{F58788B3-BBF3-45E4-AEA7-2B0C6B9DB0EC}" presName="accent_2" presStyleCnt="0"/>
      <dgm:spPr/>
    </dgm:pt>
    <dgm:pt modelId="{7BDFDEA7-9E54-4808-A2C9-9ABBBC40CAAB}" type="pres">
      <dgm:prSet presAssocID="{F58788B3-BBF3-45E4-AEA7-2B0C6B9DB0EC}" presName="accentRepeatNode" presStyleLbl="solidFgAcc1" presStyleIdx="1" presStyleCnt="4"/>
      <dgm:spPr/>
    </dgm:pt>
    <dgm:pt modelId="{9DEC76BF-0F06-413A-8873-F3A20C724867}" type="pres">
      <dgm:prSet presAssocID="{98705D23-917D-4989-8486-6E259EE37EF1}" presName="text_3" presStyleLbl="node1" presStyleIdx="2" presStyleCnt="4">
        <dgm:presLayoutVars>
          <dgm:bulletEnabled val="1"/>
        </dgm:presLayoutVars>
      </dgm:prSet>
      <dgm:spPr/>
    </dgm:pt>
    <dgm:pt modelId="{EA8D860D-9D2B-43E5-83F3-0A9930B16C20}" type="pres">
      <dgm:prSet presAssocID="{98705D23-917D-4989-8486-6E259EE37EF1}" presName="accent_3" presStyleCnt="0"/>
      <dgm:spPr/>
    </dgm:pt>
    <dgm:pt modelId="{D2E14BC4-8A59-4E6B-B3ED-CD68B2226B30}" type="pres">
      <dgm:prSet presAssocID="{98705D23-917D-4989-8486-6E259EE37EF1}" presName="accentRepeatNode" presStyleLbl="solidFgAcc1" presStyleIdx="2" presStyleCnt="4"/>
      <dgm:spPr/>
    </dgm:pt>
    <dgm:pt modelId="{145ECFD7-6902-4C31-89D2-6F80D33F3E3C}" type="pres">
      <dgm:prSet presAssocID="{642AFB2D-0F20-4864-95CF-95D9B4FF6235}" presName="text_4" presStyleLbl="node1" presStyleIdx="3" presStyleCnt="4">
        <dgm:presLayoutVars>
          <dgm:bulletEnabled val="1"/>
        </dgm:presLayoutVars>
      </dgm:prSet>
      <dgm:spPr/>
    </dgm:pt>
    <dgm:pt modelId="{2191ECD3-6C37-4F84-BF84-2696A751D832}" type="pres">
      <dgm:prSet presAssocID="{642AFB2D-0F20-4864-95CF-95D9B4FF6235}" presName="accent_4" presStyleCnt="0"/>
      <dgm:spPr/>
    </dgm:pt>
    <dgm:pt modelId="{2E22BF4D-F368-4F6A-9694-C9D29FC4E784}" type="pres">
      <dgm:prSet presAssocID="{642AFB2D-0F20-4864-95CF-95D9B4FF6235}" presName="accentRepeatNode" presStyleLbl="solidFgAcc1" presStyleIdx="3" presStyleCnt="4"/>
      <dgm:spPr/>
    </dgm:pt>
  </dgm:ptLst>
  <dgm:cxnLst>
    <dgm:cxn modelId="{9DF1C60C-67D4-470F-AE56-29FB7AEB8054}" srcId="{86B1977F-1343-4859-91BF-E8E6C69B9729}" destId="{98705D23-917D-4989-8486-6E259EE37EF1}" srcOrd="2" destOrd="0" parTransId="{63FAF3AE-C416-488C-A256-C0AACB4B84EF}" sibTransId="{7174005C-EDCB-4565-8FD0-B0237B5506DA}"/>
    <dgm:cxn modelId="{95C7B325-33CB-4D18-A2D9-F5F40C461692}" type="presOf" srcId="{F58788B3-BBF3-45E4-AEA7-2B0C6B9DB0EC}" destId="{91D83B19-46FB-4C4A-ACE2-82D890069169}" srcOrd="0" destOrd="0" presId="urn:microsoft.com/office/officeart/2008/layout/VerticalCurvedList"/>
    <dgm:cxn modelId="{6919B135-805A-4968-877F-F9ADE6F3EAFC}" type="presOf" srcId="{98705D23-917D-4989-8486-6E259EE37EF1}" destId="{9DEC76BF-0F06-413A-8873-F3A20C724867}" srcOrd="0" destOrd="0" presId="urn:microsoft.com/office/officeart/2008/layout/VerticalCurvedList"/>
    <dgm:cxn modelId="{9396A03C-EC89-4474-BC07-DFDBD823668A}" type="presOf" srcId="{642AFB2D-0F20-4864-95CF-95D9B4FF6235}" destId="{145ECFD7-6902-4C31-89D2-6F80D33F3E3C}" srcOrd="0" destOrd="0" presId="urn:microsoft.com/office/officeart/2008/layout/VerticalCurvedList"/>
    <dgm:cxn modelId="{D3B34751-3598-41AD-B1A8-6071FAD77D3A}" type="presOf" srcId="{75467027-88F7-419B-91FB-CCB5014D7511}" destId="{739D761A-E6E7-4A31-9E7B-9374D7E47139}" srcOrd="0" destOrd="0" presId="urn:microsoft.com/office/officeart/2008/layout/VerticalCurvedList"/>
    <dgm:cxn modelId="{F6675778-B490-4729-B130-08E3BCD7398B}" srcId="{86B1977F-1343-4859-91BF-E8E6C69B9729}" destId="{F58788B3-BBF3-45E4-AEA7-2B0C6B9DB0EC}" srcOrd="1" destOrd="0" parTransId="{EE3AA6BD-251D-4693-A8A3-5F55596F58CA}" sibTransId="{9A2E90E5-0058-45BC-93D3-E4E4B34C541A}"/>
    <dgm:cxn modelId="{893C0F81-389D-4A83-9E5A-391488DC9255}" type="presOf" srcId="{86B1977F-1343-4859-91BF-E8E6C69B9729}" destId="{192081E4-4B32-4695-B81E-F99CCE853235}" srcOrd="0" destOrd="0" presId="urn:microsoft.com/office/officeart/2008/layout/VerticalCurvedList"/>
    <dgm:cxn modelId="{73729D96-BD8C-4514-B896-56060B6BCEC4}" type="presOf" srcId="{4463F8A0-3D07-4213-BE40-279EA67D79D9}" destId="{9DE430E9-3670-4B15-9D4F-6F7190D10C2C}" srcOrd="0" destOrd="0" presId="urn:microsoft.com/office/officeart/2008/layout/VerticalCurvedList"/>
    <dgm:cxn modelId="{197670D3-3809-415F-ACBF-55B24BFD8173}" srcId="{86B1977F-1343-4859-91BF-E8E6C69B9729}" destId="{75467027-88F7-419B-91FB-CCB5014D7511}" srcOrd="0" destOrd="0" parTransId="{F54A5228-DFF1-43EC-9983-0459FE269D41}" sibTransId="{4463F8A0-3D07-4213-BE40-279EA67D79D9}"/>
    <dgm:cxn modelId="{7A7389F1-4EB0-4AED-83A1-1F481F6431D1}" srcId="{86B1977F-1343-4859-91BF-E8E6C69B9729}" destId="{642AFB2D-0F20-4864-95CF-95D9B4FF6235}" srcOrd="3" destOrd="0" parTransId="{136CA731-9B4C-435B-9F72-5BD0F348311D}" sibTransId="{5D1AF962-30EF-42D4-A177-B3F5A52DC50C}"/>
    <dgm:cxn modelId="{903C6889-5949-4F98-A39D-963B2E43CBAB}" type="presParOf" srcId="{192081E4-4B32-4695-B81E-F99CCE853235}" destId="{2F867668-1BBF-452E-A34F-C918B9C5ECC5}" srcOrd="0" destOrd="0" presId="urn:microsoft.com/office/officeart/2008/layout/VerticalCurvedList"/>
    <dgm:cxn modelId="{9AE38809-0E46-4B18-BEFA-D831736AE59F}" type="presParOf" srcId="{2F867668-1BBF-452E-A34F-C918B9C5ECC5}" destId="{87CD54E2-5334-4606-806C-4217D4C32565}" srcOrd="0" destOrd="0" presId="urn:microsoft.com/office/officeart/2008/layout/VerticalCurvedList"/>
    <dgm:cxn modelId="{608AEDC7-FDFF-4BDB-BC8C-75F4981F0C3B}" type="presParOf" srcId="{87CD54E2-5334-4606-806C-4217D4C32565}" destId="{225626FB-B61B-447B-9793-168B91D72591}" srcOrd="0" destOrd="0" presId="urn:microsoft.com/office/officeart/2008/layout/VerticalCurvedList"/>
    <dgm:cxn modelId="{E29CE4D5-B95E-4A05-A9DC-80B73A8F4BBD}" type="presParOf" srcId="{87CD54E2-5334-4606-806C-4217D4C32565}" destId="{9DE430E9-3670-4B15-9D4F-6F7190D10C2C}" srcOrd="1" destOrd="0" presId="urn:microsoft.com/office/officeart/2008/layout/VerticalCurvedList"/>
    <dgm:cxn modelId="{61289D92-E491-45C4-B4BB-42BBA0C2EC18}" type="presParOf" srcId="{87CD54E2-5334-4606-806C-4217D4C32565}" destId="{A763E5BE-1D9E-4579-901F-5D9B8D3B23BA}" srcOrd="2" destOrd="0" presId="urn:microsoft.com/office/officeart/2008/layout/VerticalCurvedList"/>
    <dgm:cxn modelId="{32633786-3C8D-46C9-AA2F-389E701EAAAD}" type="presParOf" srcId="{87CD54E2-5334-4606-806C-4217D4C32565}" destId="{38E9C8E2-C0EC-4DD1-B9B8-69935DE23609}" srcOrd="3" destOrd="0" presId="urn:microsoft.com/office/officeart/2008/layout/VerticalCurvedList"/>
    <dgm:cxn modelId="{4473CA52-7528-42B7-A012-0866853A5480}" type="presParOf" srcId="{2F867668-1BBF-452E-A34F-C918B9C5ECC5}" destId="{739D761A-E6E7-4A31-9E7B-9374D7E47139}" srcOrd="1" destOrd="0" presId="urn:microsoft.com/office/officeart/2008/layout/VerticalCurvedList"/>
    <dgm:cxn modelId="{0A4445F6-50A6-4C8E-97D1-7C1E35C1F031}" type="presParOf" srcId="{2F867668-1BBF-452E-A34F-C918B9C5ECC5}" destId="{75844680-9F08-4292-9EF3-83317FF74825}" srcOrd="2" destOrd="0" presId="urn:microsoft.com/office/officeart/2008/layout/VerticalCurvedList"/>
    <dgm:cxn modelId="{CDE33BCC-9588-4F2D-9279-364FAF5266D3}" type="presParOf" srcId="{75844680-9F08-4292-9EF3-83317FF74825}" destId="{E1F83804-08C5-470D-960B-4103E6F9AEA8}" srcOrd="0" destOrd="0" presId="urn:microsoft.com/office/officeart/2008/layout/VerticalCurvedList"/>
    <dgm:cxn modelId="{AC603775-E11F-42CA-8F87-F853354D47B9}" type="presParOf" srcId="{2F867668-1BBF-452E-A34F-C918B9C5ECC5}" destId="{91D83B19-46FB-4C4A-ACE2-82D890069169}" srcOrd="3" destOrd="0" presId="urn:microsoft.com/office/officeart/2008/layout/VerticalCurvedList"/>
    <dgm:cxn modelId="{E437F1AD-0ECB-4F70-BE4D-28489942B587}" type="presParOf" srcId="{2F867668-1BBF-452E-A34F-C918B9C5ECC5}" destId="{72289D6F-FF02-4149-918F-9C2D413BD5E0}" srcOrd="4" destOrd="0" presId="urn:microsoft.com/office/officeart/2008/layout/VerticalCurvedList"/>
    <dgm:cxn modelId="{3C7544E4-EE0D-40E5-9862-DF3BDC5AC867}" type="presParOf" srcId="{72289D6F-FF02-4149-918F-9C2D413BD5E0}" destId="{7BDFDEA7-9E54-4808-A2C9-9ABBBC40CAAB}" srcOrd="0" destOrd="0" presId="urn:microsoft.com/office/officeart/2008/layout/VerticalCurvedList"/>
    <dgm:cxn modelId="{3B276D57-4105-430C-9C11-2B74F96AA58D}" type="presParOf" srcId="{2F867668-1BBF-452E-A34F-C918B9C5ECC5}" destId="{9DEC76BF-0F06-413A-8873-F3A20C724867}" srcOrd="5" destOrd="0" presId="urn:microsoft.com/office/officeart/2008/layout/VerticalCurvedList"/>
    <dgm:cxn modelId="{03F58B96-41FC-4F39-86F9-EDE02CA61AC8}" type="presParOf" srcId="{2F867668-1BBF-452E-A34F-C918B9C5ECC5}" destId="{EA8D860D-9D2B-43E5-83F3-0A9930B16C20}" srcOrd="6" destOrd="0" presId="urn:microsoft.com/office/officeart/2008/layout/VerticalCurvedList"/>
    <dgm:cxn modelId="{5F604846-0BCC-446A-80E2-7BED27AE0052}" type="presParOf" srcId="{EA8D860D-9D2B-43E5-83F3-0A9930B16C20}" destId="{D2E14BC4-8A59-4E6B-B3ED-CD68B2226B30}" srcOrd="0" destOrd="0" presId="urn:microsoft.com/office/officeart/2008/layout/VerticalCurvedList"/>
    <dgm:cxn modelId="{8E834373-4391-4931-8AB0-60FF101C1E70}" type="presParOf" srcId="{2F867668-1BBF-452E-A34F-C918B9C5ECC5}" destId="{145ECFD7-6902-4C31-89D2-6F80D33F3E3C}" srcOrd="7" destOrd="0" presId="urn:microsoft.com/office/officeart/2008/layout/VerticalCurvedList"/>
    <dgm:cxn modelId="{CF1901F8-99D8-4C55-B9FF-D11AF212F3C9}" type="presParOf" srcId="{2F867668-1BBF-452E-A34F-C918B9C5ECC5}" destId="{2191ECD3-6C37-4F84-BF84-2696A751D832}" srcOrd="8" destOrd="0" presId="urn:microsoft.com/office/officeart/2008/layout/VerticalCurvedList"/>
    <dgm:cxn modelId="{5C42612D-6FF1-4E94-954A-93F0A495B846}" type="presParOf" srcId="{2191ECD3-6C37-4F84-BF84-2696A751D832}" destId="{2E22BF4D-F368-4F6A-9694-C9D29FC4E78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E430E9-3670-4B15-9D4F-6F7190D10C2C}">
      <dsp:nvSpPr>
        <dsp:cNvPr id="0" name=""/>
        <dsp:cNvSpPr/>
      </dsp:nvSpPr>
      <dsp:spPr>
        <a:xfrm>
          <a:off x="-6126981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9D761A-E6E7-4A31-9E7B-9374D7E47139}">
      <dsp:nvSpPr>
        <dsp:cNvPr id="0" name=""/>
        <dsp:cNvSpPr/>
      </dsp:nvSpPr>
      <dsp:spPr>
        <a:xfrm>
          <a:off x="610504" y="416587"/>
          <a:ext cx="744091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/>
            <a:t>Verifies student participation and instructional modality in virtual and hybrid programs.</a:t>
          </a:r>
          <a:endParaRPr lang="en-US" sz="2100" kern="1200"/>
        </a:p>
      </dsp:txBody>
      <dsp:txXfrm>
        <a:off x="610504" y="416587"/>
        <a:ext cx="7440913" cy="833607"/>
      </dsp:txXfrm>
    </dsp:sp>
    <dsp:sp modelId="{E1F83804-08C5-470D-960B-4103E6F9AEA8}">
      <dsp:nvSpPr>
        <dsp:cNvPr id="0" name=""/>
        <dsp:cNvSpPr/>
      </dsp:nvSpPr>
      <dsp:spPr>
        <a:xfrm>
          <a:off x="89500" y="312386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D83B19-46FB-4C4A-ACE2-82D890069169}">
      <dsp:nvSpPr>
        <dsp:cNvPr id="0" name=""/>
        <dsp:cNvSpPr/>
      </dsp:nvSpPr>
      <dsp:spPr>
        <a:xfrm>
          <a:off x="1088431" y="1667215"/>
          <a:ext cx="696298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/>
            <a:t>Identifies school systems offering virtual and hybrid courses, programs, and campuses.</a:t>
          </a:r>
          <a:endParaRPr lang="en-US" sz="2100" kern="1200"/>
        </a:p>
      </dsp:txBody>
      <dsp:txXfrm>
        <a:off x="1088431" y="1667215"/>
        <a:ext cx="6962986" cy="833607"/>
      </dsp:txXfrm>
    </dsp:sp>
    <dsp:sp modelId="{7BDFDEA7-9E54-4808-A2C9-9ABBBC40CAAB}">
      <dsp:nvSpPr>
        <dsp:cNvPr id="0" name=""/>
        <dsp:cNvSpPr/>
      </dsp:nvSpPr>
      <dsp:spPr>
        <a:xfrm>
          <a:off x="567426" y="1563014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EC76BF-0F06-413A-8873-F3A20C724867}">
      <dsp:nvSpPr>
        <dsp:cNvPr id="0" name=""/>
        <dsp:cNvSpPr/>
      </dsp:nvSpPr>
      <dsp:spPr>
        <a:xfrm>
          <a:off x="1088431" y="2917843"/>
          <a:ext cx="696298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/>
            <a:t> Provides insight into attendance patterns, course enrollment, and staffing in virtual and hybrid settings.</a:t>
          </a:r>
          <a:endParaRPr lang="en-US" sz="2100" kern="1200"/>
        </a:p>
      </dsp:txBody>
      <dsp:txXfrm>
        <a:off x="1088431" y="2917843"/>
        <a:ext cx="6962986" cy="833607"/>
      </dsp:txXfrm>
    </dsp:sp>
    <dsp:sp modelId="{D2E14BC4-8A59-4E6B-B3ED-CD68B2226B30}">
      <dsp:nvSpPr>
        <dsp:cNvPr id="0" name=""/>
        <dsp:cNvSpPr/>
      </dsp:nvSpPr>
      <dsp:spPr>
        <a:xfrm>
          <a:off x="567426" y="2813642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5ECFD7-6902-4C31-89D2-6F80D33F3E3C}">
      <dsp:nvSpPr>
        <dsp:cNvPr id="0" name=""/>
        <dsp:cNvSpPr/>
      </dsp:nvSpPr>
      <dsp:spPr>
        <a:xfrm>
          <a:off x="610504" y="4168472"/>
          <a:ext cx="744091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/>
            <a:t> Enables comparison of virtual and hybrid instructional data with in‑person settings.</a:t>
          </a:r>
          <a:endParaRPr lang="en-US" sz="2100" kern="1200"/>
        </a:p>
      </dsp:txBody>
      <dsp:txXfrm>
        <a:off x="610504" y="4168472"/>
        <a:ext cx="7440913" cy="833607"/>
      </dsp:txXfrm>
    </dsp:sp>
    <dsp:sp modelId="{2E22BF4D-F368-4F6A-9694-C9D29FC4E784}">
      <dsp:nvSpPr>
        <dsp:cNvPr id="0" name=""/>
        <dsp:cNvSpPr/>
      </dsp:nvSpPr>
      <dsp:spPr>
        <a:xfrm>
          <a:off x="89500" y="4064271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83907A-3C68-44CD-8A8C-EC9BE48F722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057C5D-959B-4D3C-8E9F-73D227D4AC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883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7514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084110-6737-413E-B1A7-A77ACDE72AA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4382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084110-6737-413E-B1A7-A77ACDE72AA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9579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9988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4502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0781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4494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86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6192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500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084110-6737-413E-B1A7-A77ACDE72AA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946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9248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6102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6574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0849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111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E9F57E-ACD3-47CA-E723-A39D3B908A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1E4989-4F00-F0D8-0E31-9ED8548EA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EDF434-13A2-EDC3-898E-1C989E7B41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43DF05-E26C-2137-F832-31A19E5C4F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14619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9D563-5158-B552-7809-DFE5039F9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E5D0E6-9BDB-B369-DC24-18C4ADE0BF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AFE768-A6E1-55B3-5169-1527B1B08D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F7DC28-C84B-704D-3E8E-8C1F72D013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84024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13415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309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57C5D-959B-4D3C-8E9F-73D227D4AC6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5829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D1733-A9FC-47D9-B078-24683F5543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20665-DBFE-346F-4AA9-9DCDC460F5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B1475E-36B8-EF8D-343C-95EAEBE7F8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EA631-7A94-7A3B-B549-820A256850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4D9ABE-7AB9-4D3A-BEA5-45E799BD6C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370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9B5882-57B6-4C96-5F9D-5A956E63A9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85F706-CD83-FED9-6F1D-87B4AB23B3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14484E-C894-4237-6C64-D45893E9D1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73998E-E67F-BD1C-73CA-0B559C9763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88BC5C-5611-4211-A5BB-ED704889515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9071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084110-6737-413E-B1A7-A77ACDE72AA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4833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t"/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084110-6737-413E-B1A7-A77ACDE72AA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1729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FFC1B4-34B1-B0A8-5AE7-46423CAC3A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37EAC4-0BEA-6A58-9764-9384F7A318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41BA14-0FDA-D867-42B1-2E6B3DF396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AA4501-401E-3C9F-8566-DB247ABC3C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982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491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background with a blue square&#10;&#10;Description automatically generated with medium confidence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" y="-8225"/>
            <a:ext cx="12207240" cy="596444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61968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C13DC07-AFEC-3B03-D4F5-4C95CA85FD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414"/>
            <a:ext cx="12192734" cy="685758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29BCD6E-C84C-E620-91EF-2764BDE820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3200494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68470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38" y="-8225"/>
            <a:ext cx="12207232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4052552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0291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39" y="-8225"/>
            <a:ext cx="12207234" cy="596444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4291090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78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3 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A2EAA20-EA13-F943-95AF-7156B689A8C1}"/>
              </a:ext>
            </a:extLst>
          </p:cNvPr>
          <p:cNvSpPr/>
          <p:nvPr userDrawn="1"/>
        </p:nvSpPr>
        <p:spPr>
          <a:xfrm>
            <a:off x="-10896" y="0"/>
            <a:ext cx="3287496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910B0988-AF98-C545-A6AB-AD57B467B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63F9A152-B0F8-439B-904F-B7F799A0A15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14672" y="541155"/>
            <a:ext cx="6830541" cy="5601122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defRPr sz="2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defRPr sz="2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defRPr sz="2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</a:p>
          <a:p>
            <a:pPr lvl="2"/>
            <a:r>
              <a:rPr lang="en-US"/>
              <a:t>Text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AB2D2F2-58C5-42F6-B139-3AD2F3ED8A84}"/>
              </a:ext>
            </a:extLst>
          </p:cNvPr>
          <p:cNvSpPr/>
          <p:nvPr userDrawn="1"/>
        </p:nvSpPr>
        <p:spPr>
          <a:xfrm rot="5400000">
            <a:off x="511337" y="2765263"/>
            <a:ext cx="6881354" cy="1350827"/>
          </a:xfrm>
          <a:prstGeom prst="triangle">
            <a:avLst>
              <a:gd name="adj" fmla="val 50000"/>
            </a:avLst>
          </a:prstGeom>
          <a:solidFill>
            <a:srgbClr val="0D6C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EACD710-AF49-45B9-A441-E297080941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7772" y="2257278"/>
            <a:ext cx="3364427" cy="2343445"/>
          </a:xfrm>
          <a:noFill/>
          <a:ln>
            <a:noFill/>
          </a:ln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4D8131-8134-443A-854C-EC15C2E4C0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433" y="6624083"/>
            <a:ext cx="474999" cy="233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442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7332E0B-AAE7-7F99-41A0-8219AC19C2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06" y="-14079"/>
            <a:ext cx="2970836" cy="68861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3F9C57B-E1F6-79F7-AC5C-788E1B323D5E}"/>
              </a:ext>
            </a:extLst>
          </p:cNvPr>
          <p:cNvSpPr/>
          <p:nvPr userDrawn="1"/>
        </p:nvSpPr>
        <p:spPr>
          <a:xfrm>
            <a:off x="1458747" y="2640026"/>
            <a:ext cx="2025233" cy="1642607"/>
          </a:xfrm>
          <a:prstGeom prst="rect">
            <a:avLst/>
          </a:prstGeom>
          <a:solidFill>
            <a:srgbClr val="F16038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7612" y="2878742"/>
            <a:ext cx="9386446" cy="1100516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800">
                <a:solidFill>
                  <a:srgbClr val="0D6CB9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9D303A5-46AA-F661-A45F-3A9D12A0DC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2257510-B9E9-77C8-FBE0-44DF380ED1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0228" y="3147905"/>
            <a:ext cx="1274948" cy="626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370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34BC11C-8A33-EECC-6AE4-874AFA26967E}"/>
              </a:ext>
            </a:extLst>
          </p:cNvPr>
          <p:cNvSpPr/>
          <p:nvPr userDrawn="1"/>
        </p:nvSpPr>
        <p:spPr>
          <a:xfrm>
            <a:off x="0" y="0"/>
            <a:ext cx="2048719" cy="6857999"/>
          </a:xfrm>
          <a:prstGeom prst="rect">
            <a:avLst/>
          </a:prstGeom>
          <a:solidFill>
            <a:srgbClr val="0D6C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A913AB-5A93-9177-853B-252564C6D220}"/>
              </a:ext>
            </a:extLst>
          </p:cNvPr>
          <p:cNvSpPr/>
          <p:nvPr userDrawn="1"/>
        </p:nvSpPr>
        <p:spPr>
          <a:xfrm>
            <a:off x="1354577" y="347241"/>
            <a:ext cx="1319176" cy="1253883"/>
          </a:xfrm>
          <a:prstGeom prst="rect">
            <a:avLst/>
          </a:prstGeom>
          <a:solidFill>
            <a:srgbClr val="F16038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C905F65-6FA7-1E3D-2B05-00E808E641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836" y="761129"/>
            <a:ext cx="866658" cy="4261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6514" y="647076"/>
            <a:ext cx="8647949" cy="67973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0A4145-C638-6763-56B7-DB56D7F85C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480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F908D3E-6929-860C-8364-D47F1B76F5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" y="-10170"/>
            <a:ext cx="12192132" cy="10160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469" y="160894"/>
            <a:ext cx="10250362" cy="751350"/>
          </a:xfrm>
        </p:spPr>
        <p:txBody>
          <a:bodyPr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11544581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84B3B1F-4F78-A294-A0CE-5F5AE936FF2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9517" y="303936"/>
            <a:ext cx="1006206" cy="494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3027CB0-E6C8-8156-8726-C3567C092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0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F908D3E-6929-860C-8364-D47F1B76F5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" y="-10170"/>
            <a:ext cx="12192132" cy="10160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469" y="160894"/>
            <a:ext cx="10250362" cy="751350"/>
          </a:xfrm>
        </p:spPr>
        <p:txBody>
          <a:bodyPr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header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84B3B1F-4F78-A294-A0CE-5F5AE936FF2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9517" y="303936"/>
            <a:ext cx="1006206" cy="494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3027CB0-E6C8-8156-8726-C3567C092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899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6038" y="-8225"/>
            <a:ext cx="12207232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3268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39" y="-8225"/>
            <a:ext cx="12207234" cy="596444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7007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6039" y="-8225"/>
            <a:ext cx="12207234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36653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39" y="-8225"/>
            <a:ext cx="12207234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4052552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21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A27D14-2446-2B00-8A61-1244EDC60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46647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35" imgH="435" progId="TCLayout.ActiveDocument.1">
                  <p:embed/>
                </p:oleObj>
              </mc:Choice>
              <mc:Fallback>
                <p:oleObj name="think-cell Slide" r:id="rId16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A27D14-2446-2B00-8A61-1244EDC60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34000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8" r:id="rId5"/>
    <p:sldLayoutId id="2147483675" r:id="rId6"/>
    <p:sldLayoutId id="2147483674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0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5.svg"/><Relationship Id="rId3" Type="http://schemas.openxmlformats.org/officeDocument/2006/relationships/image" Target="../media/image36.png"/><Relationship Id="rId7" Type="http://schemas.openxmlformats.org/officeDocument/2006/relationships/image" Target="../media/image40.svg"/><Relationship Id="rId12" Type="http://schemas.openxmlformats.org/officeDocument/2006/relationships/image" Target="../media/image44.png"/><Relationship Id="rId17" Type="http://schemas.openxmlformats.org/officeDocument/2006/relationships/image" Target="../media/image49.sv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4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png"/><Relationship Id="rId11" Type="http://schemas.openxmlformats.org/officeDocument/2006/relationships/image" Target="../media/image43.svg"/><Relationship Id="rId5" Type="http://schemas.openxmlformats.org/officeDocument/2006/relationships/image" Target="../media/image38.svg"/><Relationship Id="rId15" Type="http://schemas.openxmlformats.org/officeDocument/2006/relationships/image" Target="../media/image47.svg"/><Relationship Id="rId10" Type="http://schemas.openxmlformats.org/officeDocument/2006/relationships/image" Target="../media/image42.png"/><Relationship Id="rId4" Type="http://schemas.openxmlformats.org/officeDocument/2006/relationships/image" Target="../media/image37.png"/><Relationship Id="rId9" Type="http://schemas.openxmlformats.org/officeDocument/2006/relationships/hyperlink" Target="https://svgsilh.com/image/151210.html" TargetMode="External"/><Relationship Id="rId1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tea.texas.gov/about-tea/news-and-multimedia/correspondence/taa-letters/sb-569-overview-virtual-and-hybrid-learning-guidance-for-the-2025-2026-school-year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tea.texas.gov/finance-and-grants/financial-compliance/student-attendance-accounting-handbook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tea.texas.gov/finance-and-grants/financial-compliance/student-attendance-accounting-handbook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5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55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59.svg"/><Relationship Id="rId10" Type="http://schemas.openxmlformats.org/officeDocument/2006/relationships/image" Target="../media/image54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53.svg"/><Relationship Id="rId14" Type="http://schemas.openxmlformats.org/officeDocument/2006/relationships/image" Target="../media/image5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CDB2F2-112A-0066-F298-A4EB1CC5C0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3461437"/>
            <a:ext cx="8275320" cy="1105857"/>
          </a:xfrm>
        </p:spPr>
        <p:txBody>
          <a:bodyPr/>
          <a:lstStyle/>
          <a:p>
            <a:r>
              <a:rPr lang="en-US"/>
              <a:t>Virtual and Hybrid Education</a:t>
            </a:r>
            <a:br>
              <a:rPr lang="en-US"/>
            </a:br>
            <a:r>
              <a:rPr lang="en-US" sz="2800"/>
              <a:t>2026 Spring TSDS ESC Coordinator Training</a:t>
            </a:r>
            <a:br>
              <a:rPr lang="en-US" sz="2800"/>
            </a:br>
            <a:r>
              <a:rPr lang="en-US" sz="2800"/>
              <a:t>March 31, 2026</a:t>
            </a:r>
            <a:endParaRPr lang="en-US"/>
          </a:p>
        </p:txBody>
      </p:sp>
      <p:pic>
        <p:nvPicPr>
          <p:cNvPr id="4" name="Graphic 3" descr="Texas Education Agency">
            <a:extLst>
              <a:ext uri="{FF2B5EF4-FFF2-40B4-BE49-F238E27FC236}">
                <a16:creationId xmlns:a16="http://schemas.microsoft.com/office/drawing/2014/main" id="{C4A5D3A8-B16F-21C7-D8D0-C1CEB33657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630782" y="2560624"/>
            <a:ext cx="1090858" cy="53027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3705F34-4013-C15B-C0B7-4A6366D03D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07958" y="4714010"/>
            <a:ext cx="951296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ED4906F-C29A-9C19-39D0-6206456ED4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07958" y="2843634"/>
            <a:ext cx="370572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5163B1-FC4D-4D29-FA0E-CEF361460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138738" y="2843634"/>
            <a:ext cx="388218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23830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BC7D6-3533-5599-78E4-8CFF1673D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tual and Hybrid Model Definitions </a:t>
            </a:r>
            <a:r>
              <a:rPr lang="en-US" dirty="0">
                <a:solidFill>
                  <a:srgbClr val="0099FF"/>
                </a:solidFill>
              </a:rPr>
              <a:t>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696A59-45E3-8F92-E030-A3961F92D3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21013AE-A292-893F-738B-FAF34C3B4582}"/>
              </a:ext>
            </a:extLst>
          </p:cNvPr>
          <p:cNvSpPr/>
          <p:nvPr/>
        </p:nvSpPr>
        <p:spPr>
          <a:xfrm>
            <a:off x="6225834" y="1308519"/>
            <a:ext cx="5239493" cy="49089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>
                <a:solidFill>
                  <a:srgbClr val="0070C0"/>
                </a:solidFill>
              </a:rPr>
              <a:t>Instructional Delivery</a:t>
            </a:r>
          </a:p>
          <a:p>
            <a:pPr lvl="0" algn="ctr"/>
            <a:endParaRPr lang="en-US" b="1">
              <a:solidFill>
                <a:srgbClr val="0070C0"/>
              </a:solidFill>
            </a:endParaRPr>
          </a:p>
          <a:p>
            <a:pPr lvl="0" algn="ctr"/>
            <a:r>
              <a:rPr lang="en-US" b="1">
                <a:solidFill>
                  <a:srgbClr val="0070C0"/>
                </a:solidFill>
              </a:rPr>
              <a:t> Synchronous Instruction: </a:t>
            </a:r>
            <a:r>
              <a:rPr lang="en-US">
                <a:solidFill>
                  <a:schemeClr val="tx1"/>
                </a:solidFill>
              </a:rPr>
              <a:t>real-time, scheduled learning sessions where instructors and students interact simultaneously over the internet through live video and interactive tools</a:t>
            </a:r>
          </a:p>
          <a:p>
            <a:pPr lvl="0" algn="ctr"/>
            <a:endParaRPr lang="en-US">
              <a:solidFill>
                <a:schemeClr val="tx1"/>
              </a:solidFill>
            </a:endParaRPr>
          </a:p>
          <a:p>
            <a:pPr lvl="0" algn="ctr"/>
            <a:r>
              <a:rPr lang="en-US" b="1">
                <a:solidFill>
                  <a:srgbClr val="0070C0"/>
                </a:solidFill>
              </a:rPr>
              <a:t>Asynchronous Instruction: </a:t>
            </a:r>
            <a:r>
              <a:rPr lang="en-US">
                <a:solidFill>
                  <a:schemeClr val="tx1"/>
                </a:solidFill>
              </a:rPr>
              <a:t>online learning where students access the instructional material and complete assignments at an individual pace and schedule. Minimal to no mandatory real-time sessions with the instructo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525C056-5478-AFC0-5825-06C7B7BF2B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07292" y="4198005"/>
            <a:ext cx="166487" cy="191832"/>
          </a:xfrm>
          <a:prstGeom prst="rect">
            <a:avLst/>
          </a:prstGeom>
          <a:solidFill>
            <a:srgbClr val="0C6CB9"/>
          </a:solidFill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117B4D3-09DF-410A-B21F-1A7E317041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4341" y="2045242"/>
            <a:ext cx="957531" cy="1406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FB91D14-DF35-E1B1-03F5-1F413ECDA6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16200000">
            <a:off x="1240500" y="2514850"/>
            <a:ext cx="1339324" cy="400110"/>
          </a:xfrm>
          <a:prstGeom prst="rect">
            <a:avLst/>
          </a:prstGeom>
          <a:solidFill>
            <a:srgbClr val="596167"/>
          </a:solidFill>
          <a:ln w="12700" cap="flat" cmpd="sng" algn="ctr">
            <a:solidFill>
              <a:srgbClr val="596167">
                <a:shade val="15000"/>
              </a:srgbClr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pus</a:t>
            </a: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652D9A-A90E-8D78-5289-62DFFD4FD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856121" y="2106888"/>
            <a:ext cx="1041779" cy="1277679"/>
            <a:chOff x="3327432" y="4401292"/>
            <a:chExt cx="1542280" cy="182899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4B2B5DB-0FD1-B01D-C189-78B1FD85CAF2}"/>
                </a:ext>
              </a:extLst>
            </p:cNvPr>
            <p:cNvSpPr/>
            <p:nvPr/>
          </p:nvSpPr>
          <p:spPr>
            <a:xfrm>
              <a:off x="3473008" y="4838657"/>
              <a:ext cx="207472" cy="280209"/>
            </a:xfrm>
            <a:prstGeom prst="rect">
              <a:avLst/>
            </a:prstGeom>
            <a:solidFill>
              <a:srgbClr val="0D6CB9"/>
            </a:solidFill>
            <a:ln w="12700" cap="flat" cmpd="sng" algn="ctr">
              <a:solidFill>
                <a:srgbClr val="B72418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B5B2E1B-67FC-D2C7-E341-06CBFCE3D89A}"/>
                </a:ext>
              </a:extLst>
            </p:cNvPr>
            <p:cNvSpPr/>
            <p:nvPr/>
          </p:nvSpPr>
          <p:spPr>
            <a:xfrm>
              <a:off x="3898418" y="4835638"/>
              <a:ext cx="188789" cy="283228"/>
            </a:xfrm>
            <a:prstGeom prst="rect">
              <a:avLst/>
            </a:prstGeom>
            <a:solidFill>
              <a:srgbClr val="0D6CB9"/>
            </a:solidFill>
            <a:ln w="12700" cap="flat" cmpd="sng" algn="ctr">
              <a:solidFill>
                <a:srgbClr val="B72418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EC182C0-A2E9-2249-6FE1-B8D1E2BC8BA6}"/>
                </a:ext>
              </a:extLst>
            </p:cNvPr>
            <p:cNvGrpSpPr/>
            <p:nvPr/>
          </p:nvGrpSpPr>
          <p:grpSpPr>
            <a:xfrm>
              <a:off x="3327432" y="4401292"/>
              <a:ext cx="1542280" cy="1828990"/>
              <a:chOff x="3327432" y="4401292"/>
              <a:chExt cx="1542280" cy="1828990"/>
            </a:xfrm>
          </p:grpSpPr>
          <p:pic>
            <p:nvPicPr>
              <p:cNvPr id="12" name="Graphic 11" descr="Work from home Wi-Fi with solid fill">
                <a:extLst>
                  <a:ext uri="{FF2B5EF4-FFF2-40B4-BE49-F238E27FC236}">
                    <a16:creationId xmlns:a16="http://schemas.microsoft.com/office/drawing/2014/main" id="{F442B99C-34C6-06E9-EC2D-021A523B12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300135" y="4638155"/>
                <a:ext cx="562586" cy="562586"/>
              </a:xfrm>
              <a:prstGeom prst="rect">
                <a:avLst/>
              </a:prstGeom>
            </p:spPr>
          </p:pic>
          <p:pic>
            <p:nvPicPr>
              <p:cNvPr id="13" name="Graphic 12" descr="Children with solid fill">
                <a:extLst>
                  <a:ext uri="{FF2B5EF4-FFF2-40B4-BE49-F238E27FC236}">
                    <a16:creationId xmlns:a16="http://schemas.microsoft.com/office/drawing/2014/main" id="{13849FD6-4662-A648-9CFB-8D7736C234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937558" y="5641886"/>
                <a:ext cx="588396" cy="588396"/>
              </a:xfrm>
              <a:prstGeom prst="rect">
                <a:avLst/>
              </a:prstGeom>
            </p:spPr>
          </p:pic>
          <p:pic>
            <p:nvPicPr>
              <p:cNvPr id="14" name="Graphic 13" descr="Children with solid fill">
                <a:extLst>
                  <a:ext uri="{FF2B5EF4-FFF2-40B4-BE49-F238E27FC236}">
                    <a16:creationId xmlns:a16="http://schemas.microsoft.com/office/drawing/2014/main" id="{D9EDC4D8-0019-A1A9-F608-7E3F9132F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510699" y="5190286"/>
                <a:ext cx="588396" cy="588396"/>
              </a:xfrm>
              <a:prstGeom prst="rect">
                <a:avLst/>
              </a:prstGeom>
            </p:spPr>
          </p:pic>
          <p:pic>
            <p:nvPicPr>
              <p:cNvPr id="15" name="Graphic 14" descr="Children with solid fill">
                <a:extLst>
                  <a:ext uri="{FF2B5EF4-FFF2-40B4-BE49-F238E27FC236}">
                    <a16:creationId xmlns:a16="http://schemas.microsoft.com/office/drawing/2014/main" id="{86CD2DB8-28BD-A3CD-1BCD-18B6EA6A67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281316" y="5161175"/>
                <a:ext cx="588396" cy="588396"/>
              </a:xfrm>
              <a:prstGeom prst="rect">
                <a:avLst/>
              </a:prstGeom>
            </p:spPr>
          </p:pic>
          <p:pic>
            <p:nvPicPr>
              <p:cNvPr id="16" name="Picture 15" descr="A black background with a black square&#10;&#10;AI-generated content may be incorrect.">
                <a:extLst>
                  <a:ext uri="{FF2B5EF4-FFF2-40B4-BE49-F238E27FC236}">
                    <a16:creationId xmlns:a16="http://schemas.microsoft.com/office/drawing/2014/main" id="{932A54B4-3E60-4183-E661-4A08D6595B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0D6CB9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9"/>
                  </a:ext>
                </a:extLst>
              </a:blip>
              <a:stretch>
                <a:fillRect/>
              </a:stretch>
            </p:blipFill>
            <p:spPr>
              <a:xfrm>
                <a:off x="4150559" y="4603277"/>
                <a:ext cx="307894" cy="273618"/>
              </a:xfrm>
              <a:prstGeom prst="rect">
                <a:avLst/>
              </a:prstGeom>
              <a:noFill/>
            </p:spPr>
          </p:pic>
          <p:pic>
            <p:nvPicPr>
              <p:cNvPr id="17" name="Graphic 16" descr="Schoolhouse with solid fill">
                <a:extLst>
                  <a:ext uri="{FF2B5EF4-FFF2-40B4-BE49-F238E27FC236}">
                    <a16:creationId xmlns:a16="http://schemas.microsoft.com/office/drawing/2014/main" id="{12338293-9642-1668-5507-AAF87B14BD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327432" y="4401292"/>
                <a:ext cx="914401" cy="914401"/>
              </a:xfrm>
              <a:prstGeom prst="rect">
                <a:avLst/>
              </a:prstGeom>
            </p:spPr>
          </p:pic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9AC57EE-0493-6F36-5031-2442327704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423469" y="3877497"/>
            <a:ext cx="931679" cy="1101524"/>
            <a:chOff x="5845495" y="1828728"/>
            <a:chExt cx="1435673" cy="1697394"/>
          </a:xfrm>
        </p:grpSpPr>
        <p:pic>
          <p:nvPicPr>
            <p:cNvPr id="19" name="Graphic 18" descr="Children with solid fill">
              <a:extLst>
                <a:ext uri="{FF2B5EF4-FFF2-40B4-BE49-F238E27FC236}">
                  <a16:creationId xmlns:a16="http://schemas.microsoft.com/office/drawing/2014/main" id="{827797B8-98A2-5344-65A1-1415B09E60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flipH="1">
              <a:off x="5978849" y="2963535"/>
              <a:ext cx="562587" cy="562587"/>
            </a:xfrm>
            <a:prstGeom prst="rect">
              <a:avLst/>
            </a:prstGeom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DCE08C3-1682-182C-6B58-C022139A03E5}"/>
                </a:ext>
              </a:extLst>
            </p:cNvPr>
            <p:cNvGrpSpPr/>
            <p:nvPr/>
          </p:nvGrpSpPr>
          <p:grpSpPr>
            <a:xfrm>
              <a:off x="5845495" y="1828728"/>
              <a:ext cx="1435673" cy="1331842"/>
              <a:chOff x="5845495" y="1828728"/>
              <a:chExt cx="1435673" cy="1331842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C16A19D5-8BE3-AC72-2B0A-14C5DFD1334D}"/>
                  </a:ext>
                </a:extLst>
              </p:cNvPr>
              <p:cNvSpPr/>
              <p:nvPr/>
            </p:nvSpPr>
            <p:spPr>
              <a:xfrm>
                <a:off x="6386893" y="2285928"/>
                <a:ext cx="217934" cy="262467"/>
              </a:xfrm>
              <a:prstGeom prst="rect">
                <a:avLst/>
              </a:prstGeom>
              <a:solidFill>
                <a:srgbClr val="B72418"/>
              </a:solidFill>
              <a:ln w="12700" cap="flat" cmpd="sng" algn="ctr">
                <a:solidFill>
                  <a:srgbClr val="0D6CB9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2" name="Graphic 21" descr="Schoolhouse with solid fill">
                <a:extLst>
                  <a:ext uri="{FF2B5EF4-FFF2-40B4-BE49-F238E27FC236}">
                    <a16:creationId xmlns:a16="http://schemas.microsoft.com/office/drawing/2014/main" id="{C48D3105-E3D3-CB84-41B5-23B6AFC03D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845495" y="1828728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3" name="Graphic 22" descr="Work from home Wi-Fi with solid fill">
                <a:extLst>
                  <a:ext uri="{FF2B5EF4-FFF2-40B4-BE49-F238E27FC236}">
                    <a16:creationId xmlns:a16="http://schemas.microsoft.com/office/drawing/2014/main" id="{D63E3C53-9036-1F7D-04D9-02E1BECEA6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6705677" y="2055633"/>
                <a:ext cx="562586" cy="562586"/>
              </a:xfrm>
              <a:prstGeom prst="rect">
                <a:avLst/>
              </a:prstGeom>
            </p:spPr>
          </p:pic>
          <p:pic>
            <p:nvPicPr>
              <p:cNvPr id="24" name="Graphic 23" descr="Children with solid fill">
                <a:extLst>
                  <a:ext uri="{FF2B5EF4-FFF2-40B4-BE49-F238E27FC236}">
                    <a16:creationId xmlns:a16="http://schemas.microsoft.com/office/drawing/2014/main" id="{1222D6A2-BCA4-7F3C-4D16-4CDDA69C0C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flipH="1">
                <a:off x="5978849" y="2591919"/>
                <a:ext cx="562587" cy="562587"/>
              </a:xfrm>
              <a:prstGeom prst="rect">
                <a:avLst/>
              </a:prstGeom>
            </p:spPr>
          </p:pic>
          <p:pic>
            <p:nvPicPr>
              <p:cNvPr id="25" name="Graphic 24" descr="Children with solid fill">
                <a:extLst>
                  <a:ext uri="{FF2B5EF4-FFF2-40B4-BE49-F238E27FC236}">
                    <a16:creationId xmlns:a16="http://schemas.microsoft.com/office/drawing/2014/main" id="{E4681668-73C5-878B-A6C3-44E7F24049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6692772" y="2572174"/>
                <a:ext cx="588396" cy="588396"/>
              </a:xfrm>
              <a:prstGeom prst="rect">
                <a:avLst/>
              </a:prstGeom>
            </p:spPr>
          </p:pic>
        </p:grp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766DB4C2-679B-15DE-3A00-D8DC494200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87147" y="5032213"/>
            <a:ext cx="1150204" cy="705940"/>
          </a:xfrm>
          <a:prstGeom prst="rect">
            <a:avLst/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B724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ss than 50% of total enrollment is in the progra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675C5DC-1482-69BA-1653-CF3CD31C96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16200000">
            <a:off x="1206709" y="4518106"/>
            <a:ext cx="1339324" cy="400110"/>
          </a:xfrm>
          <a:prstGeom prst="rect">
            <a:avLst/>
          </a:prstGeom>
          <a:solidFill>
            <a:srgbClr val="596167"/>
          </a:solidFill>
          <a:ln w="12700" cap="flat" cmpd="sng" algn="ctr">
            <a:solidFill>
              <a:srgbClr val="596167">
                <a:shade val="15000"/>
              </a:srgbClr>
            </a:solidFill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</a:t>
            </a: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6A9A88C-5B41-7CD3-CF43-9B8A85E634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13365" y="3866910"/>
            <a:ext cx="1054971" cy="1258651"/>
            <a:chOff x="7775675" y="4167620"/>
            <a:chExt cx="1455218" cy="1736173"/>
          </a:xfrm>
        </p:grpSpPr>
        <p:pic>
          <p:nvPicPr>
            <p:cNvPr id="29" name="Graphic 28" descr="Schoolhouse with solid fill">
              <a:extLst>
                <a:ext uri="{FF2B5EF4-FFF2-40B4-BE49-F238E27FC236}">
                  <a16:creationId xmlns:a16="http://schemas.microsoft.com/office/drawing/2014/main" id="{29534F78-D84B-82F0-7403-661B64105E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775675" y="4167620"/>
              <a:ext cx="914401" cy="914402"/>
            </a:xfrm>
            <a:prstGeom prst="rect">
              <a:avLst/>
            </a:prstGeom>
          </p:spPr>
        </p:pic>
        <p:pic>
          <p:nvPicPr>
            <p:cNvPr id="30" name="Graphic 29" descr="Children with solid fill">
              <a:extLst>
                <a:ext uri="{FF2B5EF4-FFF2-40B4-BE49-F238E27FC236}">
                  <a16:creationId xmlns:a16="http://schemas.microsoft.com/office/drawing/2014/main" id="{5ADBB686-1642-939B-476A-65B20B3C6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flipH="1">
              <a:off x="7941479" y="5341206"/>
              <a:ext cx="562587" cy="562587"/>
            </a:xfrm>
            <a:prstGeom prst="rect">
              <a:avLst/>
            </a:prstGeom>
          </p:spPr>
        </p:pic>
        <p:pic>
          <p:nvPicPr>
            <p:cNvPr id="31" name="Graphic 30" descr="Children with solid fill">
              <a:extLst>
                <a:ext uri="{FF2B5EF4-FFF2-40B4-BE49-F238E27FC236}">
                  <a16:creationId xmlns:a16="http://schemas.microsoft.com/office/drawing/2014/main" id="{C4CDE1A1-E6B5-F997-CA49-F50135B30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flipH="1">
              <a:off x="7941479" y="4969590"/>
              <a:ext cx="562587" cy="562587"/>
            </a:xfrm>
            <a:prstGeom prst="rect">
              <a:avLst/>
            </a:prstGeom>
          </p:spPr>
        </p:pic>
        <p:pic>
          <p:nvPicPr>
            <p:cNvPr id="32" name="Graphic 31" descr="Work from home Wi-Fi with solid fill">
              <a:extLst>
                <a:ext uri="{FF2B5EF4-FFF2-40B4-BE49-F238E27FC236}">
                  <a16:creationId xmlns:a16="http://schemas.microsoft.com/office/drawing/2014/main" id="{81BDB950-3116-25DA-CB8A-51447622D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68307" y="4432036"/>
              <a:ext cx="562586" cy="562586"/>
            </a:xfrm>
            <a:prstGeom prst="rect">
              <a:avLst/>
            </a:prstGeom>
          </p:spPr>
        </p:pic>
        <p:pic>
          <p:nvPicPr>
            <p:cNvPr id="33" name="Graphic 32" descr="Children with solid fill">
              <a:extLst>
                <a:ext uri="{FF2B5EF4-FFF2-40B4-BE49-F238E27FC236}">
                  <a16:creationId xmlns:a16="http://schemas.microsoft.com/office/drawing/2014/main" id="{C32F0AB7-3526-5D51-93CD-50E96D62F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603186" y="4936610"/>
              <a:ext cx="588396" cy="588396"/>
            </a:xfrm>
            <a:prstGeom prst="rect">
              <a:avLst/>
            </a:prstGeom>
          </p:spPr>
        </p:pic>
        <p:pic>
          <p:nvPicPr>
            <p:cNvPr id="34" name="Picture 33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EC01ED04-6086-9936-0B50-555031CD51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rgbClr val="0D6CB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9"/>
                </a:ext>
              </a:extLst>
            </a:blip>
            <a:stretch>
              <a:fillRect/>
            </a:stretch>
          </p:blipFill>
          <p:spPr>
            <a:xfrm>
              <a:off x="8495488" y="4350712"/>
              <a:ext cx="307894" cy="273618"/>
            </a:xfrm>
            <a:prstGeom prst="rect">
              <a:avLst/>
            </a:prstGeom>
            <a:noFill/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691105AA-C6FA-95E8-64C0-DD295AE2C0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823425" y="5049841"/>
            <a:ext cx="1150204" cy="705940"/>
          </a:xfrm>
          <a:prstGeom prst="rect">
            <a:avLst/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D6CB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ss than 50% of total enrollment is in the program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F4ACD3A-93D3-CF49-55F5-46471492AC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161001" y="1534688"/>
            <a:ext cx="1448776" cy="367522"/>
          </a:xfrm>
          <a:prstGeom prst="roundRect">
            <a:avLst/>
          </a:prstGeom>
          <a:solidFill>
            <a:srgbClr val="C00000"/>
          </a:solidFill>
          <a:ln w="12700" cap="flat" cmpd="sng" algn="ctr">
            <a:solidFill>
              <a:srgbClr val="0D6CB9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tual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FDA5B9C-85E5-13AE-6159-6F353C3B82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689252" y="1526535"/>
            <a:ext cx="1448776" cy="369870"/>
          </a:xfrm>
          <a:prstGeom prst="roundRect">
            <a:avLst/>
          </a:prstGeom>
          <a:solidFill>
            <a:srgbClr val="0D6CB9"/>
          </a:solidFill>
          <a:ln w="12700" cap="flat" cmpd="sng" algn="ctr">
            <a:solidFill>
              <a:srgbClr val="0D6CB9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brid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9DD0A0-96DA-6248-87EC-E08536428D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345940" y="3311644"/>
            <a:ext cx="1150204" cy="705940"/>
          </a:xfrm>
          <a:prstGeom prst="rect">
            <a:avLst/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B724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 least 50% of total enrollment is in the program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3F70A-F51F-90D8-5825-313E514F90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830267" y="3300135"/>
            <a:ext cx="1150204" cy="705940"/>
          </a:xfrm>
          <a:prstGeom prst="rect">
            <a:avLst/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D6CB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 least 50% of total enrollment is in the program</a:t>
            </a:r>
          </a:p>
        </p:txBody>
      </p:sp>
    </p:spTree>
    <p:extLst>
      <p:ext uri="{BB962C8B-B14F-4D97-AF65-F5344CB8AC3E}">
        <p14:creationId xmlns:p14="http://schemas.microsoft.com/office/powerpoint/2010/main" val="1714487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F6EFF-E669-8AAB-9155-F004407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Campus, Program, or Courses?</a:t>
            </a:r>
            <a:br>
              <a:rPr lang="en-US"/>
            </a:br>
            <a:r>
              <a:rPr lang="en-US" sz="4000">
                <a:ea typeface="Open Sans Extrabold"/>
                <a:cs typeface="Open Sans Extrabold"/>
              </a:rPr>
              <a:t>What School Systems Consider Before Deciding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A7C-83B0-C357-E037-2B382ACC05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3BF1BB6-11A1-7AB7-4CEF-38262208CA03}"/>
              </a:ext>
            </a:extLst>
          </p:cNvPr>
          <p:cNvGraphicFramePr>
            <a:graphicFrameLocks noGrp="1"/>
          </p:cNvGraphicFramePr>
          <p:nvPr/>
        </p:nvGraphicFramePr>
        <p:xfrm>
          <a:off x="514804" y="1316411"/>
          <a:ext cx="11162391" cy="515112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3720797">
                  <a:extLst>
                    <a:ext uri="{9D8B030D-6E8A-4147-A177-3AD203B41FA5}">
                      <a16:colId xmlns:a16="http://schemas.microsoft.com/office/drawing/2014/main" val="662734454"/>
                    </a:ext>
                  </a:extLst>
                </a:gridCol>
                <a:gridCol w="3720797">
                  <a:extLst>
                    <a:ext uri="{9D8B030D-6E8A-4147-A177-3AD203B41FA5}">
                      <a16:colId xmlns:a16="http://schemas.microsoft.com/office/drawing/2014/main" val="2417535486"/>
                    </a:ext>
                  </a:extLst>
                </a:gridCol>
                <a:gridCol w="3720797">
                  <a:extLst>
                    <a:ext uri="{9D8B030D-6E8A-4147-A177-3AD203B41FA5}">
                      <a16:colId xmlns:a16="http://schemas.microsoft.com/office/drawing/2014/main" val="1328099736"/>
                    </a:ext>
                  </a:extLst>
                </a:gridCol>
              </a:tblGrid>
              <a:tr h="921858"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bg1"/>
                          </a:solidFill>
                        </a:rPr>
                        <a:t>Full-time Virtual or </a:t>
                      </a:r>
                    </a:p>
                    <a:p>
                      <a:pPr algn="ctr"/>
                      <a:r>
                        <a:rPr lang="en-US" sz="2000">
                          <a:solidFill>
                            <a:schemeClr val="bg1"/>
                          </a:solidFill>
                        </a:rPr>
                        <a:t>Full-time Hybrid </a:t>
                      </a:r>
                      <a:br>
                        <a:rPr lang="en-US" sz="2000">
                          <a:solidFill>
                            <a:schemeClr val="bg1"/>
                          </a:solidFill>
                        </a:rPr>
                      </a:br>
                      <a:r>
                        <a:rPr lang="en-US" sz="2000">
                          <a:solidFill>
                            <a:schemeClr val="bg1"/>
                          </a:solidFill>
                        </a:rPr>
                        <a:t>CAMPUS</a:t>
                      </a: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bg1"/>
                          </a:solidFill>
                        </a:rPr>
                        <a:t>Full-time Virtual or</a:t>
                      </a:r>
                    </a:p>
                    <a:p>
                      <a:pPr algn="ctr"/>
                      <a:r>
                        <a:rPr lang="en-US" sz="2000">
                          <a:solidFill>
                            <a:schemeClr val="bg1"/>
                          </a:solidFill>
                        </a:rPr>
                        <a:t> Full-time Hybrid PROGRAM</a:t>
                      </a: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bg1"/>
                          </a:solidFill>
                        </a:rPr>
                        <a:t>Virtual or Hybrid </a:t>
                      </a:r>
                      <a:br>
                        <a:rPr lang="en-US" sz="2000">
                          <a:solidFill>
                            <a:schemeClr val="bg1"/>
                          </a:solidFill>
                        </a:rPr>
                      </a:br>
                      <a:r>
                        <a:rPr lang="en-US" sz="2000">
                          <a:solidFill>
                            <a:schemeClr val="bg1"/>
                          </a:solidFill>
                        </a:rPr>
                        <a:t>COURSE Offerings</a:t>
                      </a: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899658"/>
                  </a:ext>
                </a:extLst>
              </a:tr>
              <a:tr h="921858"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Enrollment-Based Funding</a:t>
                      </a:r>
                      <a:br>
                        <a:rPr lang="en-US" sz="2000">
                          <a:solidFill>
                            <a:sysClr val="windowText" lastClr="000000"/>
                          </a:solidFill>
                        </a:rPr>
                      </a:br>
                      <a:r>
                        <a:rPr lang="en-US" sz="1400" i="1">
                          <a:solidFill>
                            <a:sysClr val="windowText" lastClr="000000"/>
                          </a:solidFill>
                        </a:rPr>
                        <a:t>(Enrolled students x attendance rate)</a:t>
                      </a:r>
                      <a:endParaRPr lang="en-US" sz="2000" i="1">
                        <a:solidFill>
                          <a:sysClr val="windowText" lastClr="000000"/>
                        </a:solidFill>
                      </a:endParaRP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ADA Funding</a:t>
                      </a:r>
                      <a:br>
                        <a:rPr lang="en-US" sz="2000">
                          <a:solidFill>
                            <a:sysClr val="windowText" lastClr="000000"/>
                          </a:solidFill>
                        </a:rPr>
                      </a:br>
                      <a:r>
                        <a:rPr lang="en-US" sz="1400" i="1">
                          <a:solidFill>
                            <a:sysClr val="windowText" lastClr="000000"/>
                          </a:solidFill>
                        </a:rPr>
                        <a:t>(Daily engagement evidence)</a:t>
                      </a:r>
                      <a:endParaRPr lang="en-US" sz="2000" i="1">
                        <a:solidFill>
                          <a:sysClr val="windowText" lastClr="000000"/>
                        </a:solidFill>
                      </a:endParaRP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ADA Funding</a:t>
                      </a:r>
                      <a:br>
                        <a:rPr lang="en-US" sz="2000">
                          <a:solidFill>
                            <a:sysClr val="windowText" lastClr="000000"/>
                          </a:solidFill>
                        </a:rPr>
                      </a:br>
                      <a:r>
                        <a:rPr lang="en-US" sz="1400" i="1">
                          <a:solidFill>
                            <a:sysClr val="windowText" lastClr="000000"/>
                          </a:solidFill>
                        </a:rPr>
                        <a:t>(Same as in-person)</a:t>
                      </a:r>
                      <a:endParaRPr lang="en-US" sz="2000" i="1">
                        <a:solidFill>
                          <a:sysClr val="windowText" lastClr="000000"/>
                        </a:solidFill>
                      </a:endParaRP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0720664"/>
                  </a:ext>
                </a:extLst>
              </a:tr>
              <a:tr h="921858"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Requires Authorization </a:t>
                      </a:r>
                    </a:p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from TEA</a:t>
                      </a: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School Systems May </a:t>
                      </a:r>
                    </a:p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Launch Independently</a:t>
                      </a: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School Systems May Launch Independently</a:t>
                      </a: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9055979"/>
                  </a:ext>
                </a:extLst>
              </a:tr>
              <a:tr h="921858"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School Systems Create a New Campus with a Specific Focus</a:t>
                      </a: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Exists within a Current Campus &amp; Serves less than 50% of students</a:t>
                      </a: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ysClr val="windowText" lastClr="000000"/>
                          </a:solidFill>
                        </a:rPr>
                        <a:t>Offer district or statewide</a:t>
                      </a:r>
                    </a:p>
                  </a:txBody>
                  <a:tcPr marL="274320" marR="274320" marT="274320" marB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0996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4659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64DFDF-9D47-50B8-0B21-0A7FA7D8A629}"/>
              </a:ext>
            </a:extLst>
          </p:cNvPr>
          <p:cNvSpPr>
            <a:spLocks noGrp="1"/>
          </p:cNvSpPr>
          <p:nvPr>
            <p:ph type="ctrTitle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LargePlainText"/>
                  </p202:designTagLst>
                </p202:designPr>
              </p:ext>
            </p:extLst>
          </p:nvPr>
        </p:nvSpPr>
        <p:spPr>
          <a:xfrm>
            <a:off x="1280160" y="2323143"/>
            <a:ext cx="9433560" cy="1105857"/>
          </a:xfrm>
        </p:spPr>
        <p:txBody>
          <a:bodyPr anchor="b">
            <a:noAutofit/>
          </a:bodyPr>
          <a:lstStyle/>
          <a:p>
            <a:pPr indent="0">
              <a:spcAft>
                <a:spcPts val="600"/>
              </a:spcAft>
              <a:buNone/>
            </a:pPr>
            <a:r>
              <a:rPr lang="en-US" sz="2800"/>
              <a:t>TEC, Chapter 30B </a:t>
            </a:r>
            <a:r>
              <a:rPr lang="en-US" sz="2800" b="1" kern="1200"/>
              <a:t>is undergoing the rulemaking process</a:t>
            </a:r>
            <a:r>
              <a:rPr lang="en-US" sz="2400" b="1" kern="1200"/>
              <a:t>. </a:t>
            </a:r>
            <a:br>
              <a:rPr lang="en-US" sz="2800" b="1" kern="1200"/>
            </a:br>
            <a:r>
              <a:rPr lang="en-US" sz="2800" b="1" kern="1200"/>
              <a:t>Rules will go into effect in the Summer of 2026</a:t>
            </a:r>
            <a:endParaRPr lang="en-US" sz="2800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E8B59BFC-7993-140C-87F9-6C1F8221CCF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00433" y="6624083"/>
            <a:ext cx="474999" cy="23391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9C126A4-BD19-47E2-8A0E-0DE1B9D8C925}" type="slidenum">
              <a:rPr lang="en-US" sz="1000" smtClean="0"/>
              <a:pPr>
                <a:lnSpc>
                  <a:spcPct val="90000"/>
                </a:lnSpc>
                <a:spcAft>
                  <a:spcPts val="600"/>
                </a:spcAft>
              </a:pPr>
              <a:t>12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2491959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22CE0-9D19-38AE-74B3-9E1BBE406F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Attendance and Fund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6A3D68-FA03-04C9-77C6-71D6E345C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3431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B85BDE-9D35-9544-0C89-CBBE002C2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 2025-26: Transition Yea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37C41-8C51-4984-B425-D5E31D71F1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327" y="1619253"/>
            <a:ext cx="5369374" cy="4351338"/>
          </a:xfrm>
        </p:spPr>
        <p:txBody>
          <a:bodyPr/>
          <a:lstStyle/>
          <a:p>
            <a:r>
              <a:rPr lang="en-US"/>
              <a:t>TXVSN Online Schools and Waiver Schools continue operating under TEC 30A as before, except for changes in funding.</a:t>
            </a:r>
          </a:p>
          <a:p>
            <a:pPr marL="0" indent="0">
              <a:buNone/>
            </a:pPr>
            <a:endParaRPr lang="en-US" sz="1800"/>
          </a:p>
          <a:p>
            <a:r>
              <a:rPr lang="en-US">
                <a:solidFill>
                  <a:srgbClr val="0D6CB9"/>
                </a:solidFill>
                <a:latin typeface="Calibri" panose="020F0502020204030204" pitchFamily="34" charset="0"/>
              </a:rPr>
              <a:t>Shared </a:t>
            </a:r>
            <a:r>
              <a:rPr lang="en-US">
                <a:solidFill>
                  <a:srgbClr val="0D6CB9"/>
                </a:solidFill>
                <a:latin typeface="Calibri" panose="020F0502020204030204" pitchFamily="34" charset="0"/>
                <a:hlinkClick r:id="rId3"/>
              </a:rPr>
              <a:t>TAA</a:t>
            </a:r>
            <a:r>
              <a:rPr lang="en-US">
                <a:solidFill>
                  <a:srgbClr val="0D6CB9"/>
                </a:solidFill>
                <a:latin typeface="Calibri" panose="020F0502020204030204" pitchFamily="34" charset="0"/>
              </a:rPr>
              <a:t> on SB 569 for offering virtual and hybrid options in SY 2025-26 and clarity around attendance and funding</a:t>
            </a:r>
          </a:p>
        </p:txBody>
      </p:sp>
      <p:pic>
        <p:nvPicPr>
          <p:cNvPr id="6" name="Picture 5" descr="SB 569 Overview guidance">
            <a:extLst>
              <a:ext uri="{FF2B5EF4-FFF2-40B4-BE49-F238E27FC236}">
                <a16:creationId xmlns:a16="http://schemas.microsoft.com/office/drawing/2014/main" id="{65A6F706-297D-556B-C093-AB0572E5BD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0710" y="1867030"/>
            <a:ext cx="4698926" cy="29824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54E7A-990D-E60E-5C07-51E22D565D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6735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24DEB1-CBF1-5A00-8DEC-CA0B2C5E02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ttendance and Funding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B759CE-4438-B228-6DC3-208F7FC2F5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5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F09CA5E-1B35-DC09-4178-A64AA43B37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6061676"/>
              </p:ext>
            </p:extLst>
          </p:nvPr>
        </p:nvGraphicFramePr>
        <p:xfrm>
          <a:off x="121186" y="1055310"/>
          <a:ext cx="11865167" cy="5748807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214454">
                  <a:extLst>
                    <a:ext uri="{9D8B030D-6E8A-4147-A177-3AD203B41FA5}">
                      <a16:colId xmlns:a16="http://schemas.microsoft.com/office/drawing/2014/main" val="1732823934"/>
                    </a:ext>
                  </a:extLst>
                </a:gridCol>
                <a:gridCol w="3195263">
                  <a:extLst>
                    <a:ext uri="{9D8B030D-6E8A-4147-A177-3AD203B41FA5}">
                      <a16:colId xmlns:a16="http://schemas.microsoft.com/office/drawing/2014/main" val="1313099135"/>
                    </a:ext>
                  </a:extLst>
                </a:gridCol>
                <a:gridCol w="4463529">
                  <a:extLst>
                    <a:ext uri="{9D8B030D-6E8A-4147-A177-3AD203B41FA5}">
                      <a16:colId xmlns:a16="http://schemas.microsoft.com/office/drawing/2014/main" val="419194153"/>
                    </a:ext>
                  </a:extLst>
                </a:gridCol>
                <a:gridCol w="2991921">
                  <a:extLst>
                    <a:ext uri="{9D8B030D-6E8A-4147-A177-3AD203B41FA5}">
                      <a16:colId xmlns:a16="http://schemas.microsoft.com/office/drawing/2014/main" val="2229692452"/>
                    </a:ext>
                  </a:extLst>
                </a:gridCol>
              </a:tblGrid>
              <a:tr h="67909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050">
                          <a:effectLst/>
                        </a:rPr>
                        <a:t> 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050" b="1">
                          <a:solidFill>
                            <a:schemeClr val="accent1"/>
                          </a:solidFill>
                          <a:effectLst/>
                        </a:rPr>
                        <a:t>Full-time Virtual and Hybrid Campuses</a:t>
                      </a:r>
                    </a:p>
                    <a:p>
                      <a:pPr marL="0" marR="0" algn="ctr">
                        <a:buNone/>
                      </a:pPr>
                      <a:r>
                        <a:rPr lang="en-US" sz="1050" b="0">
                          <a:effectLst/>
                        </a:rPr>
                        <a:t>(Existing schools that operated under, or have a previous waiver for, TEC Chapter 30A—such as TXVSN and TXVSN waiver schools)</a:t>
                      </a:r>
                      <a:endParaRPr lang="en-US" sz="1050" b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050" b="1">
                          <a:solidFill>
                            <a:schemeClr val="accent1"/>
                          </a:solidFill>
                          <a:effectLst/>
                        </a:rPr>
                        <a:t>Full-time Virtual and Hybrid Programs</a:t>
                      </a:r>
                    </a:p>
                    <a:p>
                      <a:pPr marL="0" marR="0" algn="ctr">
                        <a:buNone/>
                      </a:pPr>
                      <a:r>
                        <a:rPr lang="en-US" sz="1050" b="0">
                          <a:effectLst/>
                        </a:rPr>
                        <a:t>(Programs under TEC, Chapter 30B)</a:t>
                      </a:r>
                      <a:endParaRPr lang="en-US" sz="1050" b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050" b="1">
                          <a:solidFill>
                            <a:schemeClr val="accent1"/>
                          </a:solidFill>
                          <a:effectLst/>
                        </a:rPr>
                        <a:t>Virtual or Hybrid Courses</a:t>
                      </a:r>
                    </a:p>
                    <a:p>
                      <a:pPr marL="0" marR="0" algn="ctr">
                        <a:buNone/>
                      </a:pPr>
                      <a:r>
                        <a:rPr lang="en-US" sz="1050" b="0">
                          <a:effectLst/>
                        </a:rPr>
                        <a:t>(supplemental courses such as in TXVSN course catalog or new courses under TEC, Chapter 30B)</a:t>
                      </a:r>
                      <a:endParaRPr lang="en-US" sz="1050" b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extLst>
                  <a:ext uri="{0D108BD9-81ED-4DB2-BD59-A6C34878D82A}">
                    <a16:rowId xmlns:a16="http://schemas.microsoft.com/office/drawing/2014/main" val="880860426"/>
                  </a:ext>
                </a:extLst>
              </a:tr>
              <a:tr h="322567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400">
                          <a:effectLst/>
                        </a:rPr>
                        <a:t>Attendance Taking for Funding Purposes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A student is reported as present for each day the student is enrolled on the campus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Report attendance for students participating in either synchronous or asynchronous methods based on the </a:t>
                      </a:r>
                      <a:r>
                        <a:rPr lang="en-US" sz="1100" b="1">
                          <a:effectLst/>
                        </a:rPr>
                        <a:t>school system-approved instructional plan and policy</a:t>
                      </a:r>
                      <a:r>
                        <a:rPr lang="en-US" sz="1100">
                          <a:effectLst/>
                        </a:rPr>
                        <a:t>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Attendance is taken daily and may be conducted anytime between 12:00 am and 11:59 pm each day the campus is open, or within a more specific daily time frame as specified by the approved policy. 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Daily measurement options for attendance include: 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• Daily progress in the learning management system (LMS) that confirms students accessed instruction, as defined by the school system; or 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• Daily check-in via teacher-student interactions that confirm students accessed instruction, as defined by the school system; or 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• Completion/turn-in of assignments from student to teacher (potentially via email or online). 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School systems must maintain documentation to support the daily attendance a student has earned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Students enrolled in virtual or hybrid courses who are present on campus for part of the day will have their attendance recorded during their scheduled on-campus class times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If a student is on campus for part of the day but not during the official attendance-taking period, attendance may be recorded during an alternative attendance-taking time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See </a:t>
                      </a:r>
                      <a:r>
                        <a:rPr lang="en-US" sz="1100" u="sng">
                          <a:effectLst/>
                          <a:hlinkClick r:id="rId3"/>
                        </a:rPr>
                        <a:t>3.6.2.2 Alternative Attendance-Taking Time for Certain Student Populations</a:t>
                      </a:r>
                      <a:r>
                        <a:rPr lang="en-US" sz="1100">
                          <a:effectLst/>
                        </a:rPr>
                        <a:t> for instructions on how to record attendance for these students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extLst>
                  <a:ext uri="{0D108BD9-81ED-4DB2-BD59-A6C34878D82A}">
                    <a16:rowId xmlns:a16="http://schemas.microsoft.com/office/drawing/2014/main" val="1952260435"/>
                  </a:ext>
                </a:extLst>
              </a:tr>
              <a:tr h="1527952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400">
                          <a:effectLst/>
                        </a:rPr>
                        <a:t>Funding Calculation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For full-time hybrid or virtual campuses, average daily attendance will be calculated using the number of enrolled full-time equivalent students multiplied by the average attendance rate of the district or charter school offering the campus, excluding students enrolled in those hybrid or virtual campuses. </a:t>
                      </a:r>
                    </a:p>
                    <a:p>
                      <a:pPr marL="0" marR="0">
                        <a:buNone/>
                      </a:pPr>
                      <a:endParaRPr lang="en-US" sz="1100">
                        <a:effectLst/>
                      </a:endParaRP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If a reliable attendance rate is not available, the statewide average will be used instead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Districts and open-enrollment charter schools receive the same amount of funding per student for a full-time hybrid program, or full-time virtual program as it would for the same course or program offered fully in person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Districts and open-enrollment charter schools receive the same amount of funding per student for a hybrid course, virtual course, as it would for the same course or program offered fully in person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extLst>
                  <a:ext uri="{0D108BD9-81ED-4DB2-BD59-A6C34878D82A}">
                    <a16:rowId xmlns:a16="http://schemas.microsoft.com/office/drawing/2014/main" val="34333159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52888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AA0859-EEA1-6204-77EE-BF7A6C0D0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Full-time</a:t>
            </a:r>
            <a:r>
              <a:rPr lang="en-US" b="1">
                <a:solidFill>
                  <a:schemeClr val="accent1"/>
                </a:solidFill>
              </a:rPr>
              <a:t> </a:t>
            </a:r>
            <a:r>
              <a:rPr lang="en-US" sz="4000"/>
              <a:t>Virtual and Hybrid Campuse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167A4E-8724-D9E8-D08D-6D6B3B36E7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5325623" cy="4351338"/>
          </a:xfrm>
        </p:spPr>
        <p:txBody>
          <a:bodyPr/>
          <a:lstStyle/>
          <a:p>
            <a:r>
              <a:rPr lang="en-US"/>
              <a:t>Existing schools that operated under, or have a previous waiver for, TEC Chapter 30A—such as TXVSN and TXVSN waiver school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F01F7C-EC45-66E8-9D02-B6E039114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6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D12CBC4-ADC0-BF9D-B0D3-E7AFC016CE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5610039"/>
              </p:ext>
            </p:extLst>
          </p:nvPr>
        </p:nvGraphicFramePr>
        <p:xfrm>
          <a:off x="6504453" y="1770385"/>
          <a:ext cx="5402079" cy="4351338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912620">
                  <a:extLst>
                    <a:ext uri="{9D8B030D-6E8A-4147-A177-3AD203B41FA5}">
                      <a16:colId xmlns:a16="http://schemas.microsoft.com/office/drawing/2014/main" val="2511690354"/>
                    </a:ext>
                  </a:extLst>
                </a:gridCol>
                <a:gridCol w="3489459">
                  <a:extLst>
                    <a:ext uri="{9D8B030D-6E8A-4147-A177-3AD203B41FA5}">
                      <a16:colId xmlns:a16="http://schemas.microsoft.com/office/drawing/2014/main" val="133034138"/>
                    </a:ext>
                  </a:extLst>
                </a:gridCol>
              </a:tblGrid>
              <a:tr h="2291813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</a:rPr>
                        <a:t>Attendance Taking for Funding Purposes</a:t>
                      </a:r>
                      <a:endParaRPr lang="en-US" sz="1400" b="1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A student is reported as present for each day the student is enrolled on the campus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extLst>
                  <a:ext uri="{0D108BD9-81ED-4DB2-BD59-A6C34878D82A}">
                    <a16:rowId xmlns:a16="http://schemas.microsoft.com/office/drawing/2014/main" val="1982097355"/>
                  </a:ext>
                </a:extLst>
              </a:tr>
              <a:tr h="2059525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</a:rPr>
                        <a:t>Funding Calculation</a:t>
                      </a:r>
                      <a:endParaRPr lang="en-US" sz="1400" b="1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For full-time hybrid or virtual campuses, average daily attendance will be calculated using the number of enrolled full-time equivalent students multiplied by the average attendance rate of the district or charter school offering the campus, excluding students enrolled in those hybrid or virtual campuses. </a:t>
                      </a:r>
                    </a:p>
                    <a:p>
                      <a:pPr marL="0" marR="0">
                        <a:buNone/>
                      </a:pPr>
                      <a:endParaRPr lang="en-US" sz="1100">
                        <a:effectLst/>
                      </a:endParaRP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If a reliable attendance rate is not available, the statewide average will be used instead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extLst>
                  <a:ext uri="{0D108BD9-81ED-4DB2-BD59-A6C34878D82A}">
                    <a16:rowId xmlns:a16="http://schemas.microsoft.com/office/drawing/2014/main" val="2125873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75083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B573A-8114-7FB4-247E-E6C08A8301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04461-FB93-2BB2-496C-D6617BE31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Full-time Virtual and Hybrid Program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FE313-2D37-7ED3-5AED-0F0E1199A7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3642296" cy="4351338"/>
          </a:xfrm>
        </p:spPr>
        <p:txBody>
          <a:bodyPr/>
          <a:lstStyle/>
          <a:p>
            <a:r>
              <a:rPr lang="en-US"/>
              <a:t>Existing schools with Programs under TEC, Chapter 30B</a:t>
            </a:r>
            <a:endParaRPr lang="en-US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C8D10F-58E3-F547-CCE3-C37F246507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7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E5268A8-A6F2-8900-6765-CB3B13D3BA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4974149"/>
              </p:ext>
            </p:extLst>
          </p:nvPr>
        </p:nvGraphicFramePr>
        <p:xfrm>
          <a:off x="5226627" y="1479133"/>
          <a:ext cx="6314913" cy="4882353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01174">
                  <a:extLst>
                    <a:ext uri="{9D8B030D-6E8A-4147-A177-3AD203B41FA5}">
                      <a16:colId xmlns:a16="http://schemas.microsoft.com/office/drawing/2014/main" val="2511690354"/>
                    </a:ext>
                  </a:extLst>
                </a:gridCol>
                <a:gridCol w="4513739">
                  <a:extLst>
                    <a:ext uri="{9D8B030D-6E8A-4147-A177-3AD203B41FA5}">
                      <a16:colId xmlns:a16="http://schemas.microsoft.com/office/drawing/2014/main" val="133034138"/>
                    </a:ext>
                  </a:extLst>
                </a:gridCol>
              </a:tblGrid>
              <a:tr h="2972020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buNone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endance Taking for Funding Purposes</a:t>
                      </a:r>
                    </a:p>
                  </a:txBody>
                  <a:tcPr marL="31230" marR="3123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Report attendance for students participating in either synchronous or asynchronous methods based on the </a:t>
                      </a:r>
                      <a:r>
                        <a:rPr lang="en-US" sz="1100" b="1">
                          <a:effectLst/>
                        </a:rPr>
                        <a:t>school system-approved instructional plan and policy</a:t>
                      </a:r>
                      <a:r>
                        <a:rPr lang="en-US" sz="1100">
                          <a:effectLst/>
                        </a:rPr>
                        <a:t>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Attendance is taken daily and may be conducted anytime between 12:00 am and 11:59 pm each day the campus is open, or within a more specific daily time frame as specified by the approved policy. 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Daily measurement options for attendance include: </a:t>
                      </a:r>
                    </a:p>
                    <a:p>
                      <a:pPr marL="457200" marR="0" lvl="1">
                        <a:buNone/>
                      </a:pPr>
                      <a:r>
                        <a:rPr lang="en-US" sz="1100">
                          <a:effectLst/>
                        </a:rPr>
                        <a:t>• Daily progress in the learning management system (LMS) that confirms students accessed instruction, as defined by the school system; or </a:t>
                      </a:r>
                    </a:p>
                    <a:p>
                      <a:pPr marL="457200" marR="0" lvl="1">
                        <a:buNone/>
                      </a:pPr>
                      <a:r>
                        <a:rPr lang="en-US" sz="1100">
                          <a:effectLst/>
                        </a:rPr>
                        <a:t>• Daily check-in via teacher-student interactions that confirm students accessed instruction, as defined by the school system; or </a:t>
                      </a:r>
                    </a:p>
                    <a:p>
                      <a:pPr marL="457200" marR="0" lvl="1">
                        <a:buNone/>
                      </a:pPr>
                      <a:r>
                        <a:rPr lang="en-US" sz="1100">
                          <a:effectLst/>
                        </a:rPr>
                        <a:t>• Completion/turn-in of assignments from student to teacher (potentially via email or online). 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School systems must maintain documentation to support the daily attendance a student has earned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extLst>
                  <a:ext uri="{0D108BD9-81ED-4DB2-BD59-A6C34878D82A}">
                    <a16:rowId xmlns:a16="http://schemas.microsoft.com/office/drawing/2014/main" val="1982097355"/>
                  </a:ext>
                </a:extLst>
              </a:tr>
              <a:tr h="152955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buNone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ding Calculation</a:t>
                      </a:r>
                    </a:p>
                  </a:txBody>
                  <a:tcPr marL="31230" marR="3123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Districts and open-enrollment charter schools receive the same amount of funding per student for a full-time hybrid program, or full-time virtual program as it would for the same course or program offered fully in person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extLst>
                  <a:ext uri="{0D108BD9-81ED-4DB2-BD59-A6C34878D82A}">
                    <a16:rowId xmlns:a16="http://schemas.microsoft.com/office/drawing/2014/main" val="2125873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10984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D58628-788D-3128-1783-CB38A7618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746DD-4FD2-D080-8C4A-7BEBAB230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Virtual or Hybrid Course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563251-0630-3852-7934-4705671C42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5055459" cy="4351338"/>
          </a:xfrm>
        </p:spPr>
        <p:txBody>
          <a:bodyPr/>
          <a:lstStyle/>
          <a:p>
            <a:r>
              <a:rPr lang="en-US"/>
              <a:t>Supplemental courses such as in TXVSN course catalog or new courses under TEC, Chapter 30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B9CB54-C7EE-76F1-8378-908A7BBFE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8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3D59C7F-7FB1-4E69-1DEB-BFCD61EB8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434952"/>
              </p:ext>
            </p:extLst>
          </p:nvPr>
        </p:nvGraphicFramePr>
        <p:xfrm>
          <a:off x="6096000" y="1495628"/>
          <a:ext cx="5500508" cy="4205116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514862">
                  <a:extLst>
                    <a:ext uri="{9D8B030D-6E8A-4147-A177-3AD203B41FA5}">
                      <a16:colId xmlns:a16="http://schemas.microsoft.com/office/drawing/2014/main" val="2511690354"/>
                    </a:ext>
                  </a:extLst>
                </a:gridCol>
                <a:gridCol w="3985646">
                  <a:extLst>
                    <a:ext uri="{9D8B030D-6E8A-4147-A177-3AD203B41FA5}">
                      <a16:colId xmlns:a16="http://schemas.microsoft.com/office/drawing/2014/main" val="133034138"/>
                    </a:ext>
                  </a:extLst>
                </a:gridCol>
              </a:tblGrid>
              <a:tr h="267556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buNone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endance Taking for Funding Purposes</a:t>
                      </a:r>
                    </a:p>
                  </a:txBody>
                  <a:tcPr marL="31230" marR="3123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Students enrolled in virtual or hybrid courses who are present on campus for part of the day will have their attendance recorded during their scheduled on-campus class times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If a student is on campus for part of the day but not during the official attendance-taking period, attendance may be recorded during an alternative attendance-taking time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See </a:t>
                      </a:r>
                      <a:r>
                        <a:rPr lang="en-US" sz="1100" u="sng">
                          <a:effectLst/>
                          <a:hlinkClick r:id="rId3"/>
                        </a:rPr>
                        <a:t>3.6.2.2 Alternative Attendance-Taking Time for Certain Student Populations</a:t>
                      </a:r>
                      <a:r>
                        <a:rPr lang="en-US" sz="1100">
                          <a:effectLst/>
                        </a:rPr>
                        <a:t> for instructions on how to record attendance for these students.</a:t>
                      </a:r>
                    </a:p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extLst>
                  <a:ext uri="{0D108BD9-81ED-4DB2-BD59-A6C34878D82A}">
                    <a16:rowId xmlns:a16="http://schemas.microsoft.com/office/drawing/2014/main" val="1982097355"/>
                  </a:ext>
                </a:extLst>
              </a:tr>
              <a:tr h="152955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buNone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ding Calculation</a:t>
                      </a:r>
                    </a:p>
                  </a:txBody>
                  <a:tcPr marL="31230" marR="3123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100">
                          <a:effectLst/>
                        </a:rPr>
                        <a:t>Districts and open-enrollment charter schools receive the same amount of funding per student for a hybrid course, virtual course, as it would for the same course or program offered fully in person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230" marR="31230" marT="0" marB="0" anchor="ctr"/>
                </a:tc>
                <a:extLst>
                  <a:ext uri="{0D108BD9-81ED-4DB2-BD59-A6C34878D82A}">
                    <a16:rowId xmlns:a16="http://schemas.microsoft.com/office/drawing/2014/main" val="2125873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38587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463214-7823-4B86-57DB-E9BABD28BC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DAA29-9F9C-0634-E6ED-A671A39FEC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42" y="2169993"/>
            <a:ext cx="3530179" cy="2343445"/>
          </a:xfrm>
        </p:spPr>
        <p:txBody>
          <a:bodyPr anchor="ctr">
            <a:normAutofit/>
          </a:bodyPr>
          <a:lstStyle/>
          <a:p>
            <a:pPr algn="ctr"/>
            <a:r>
              <a:rPr lang="en-US"/>
              <a:t>Remote/Hybrid Dropout Recovery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983F5F0-BD6C-31D8-9339-5B838EDABA8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995647" y="628439"/>
            <a:ext cx="6405778" cy="5601122"/>
          </a:xfrm>
        </p:spPr>
        <p:txBody>
          <a:bodyPr anchor="ctr"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/>
              <a:t>Remote/hybrid dropout recovery programs must now operate as full-time hybrid or virtual programs or campuses under TEC, Chapter 30B.</a:t>
            </a:r>
          </a:p>
          <a:p>
            <a:pPr marL="0" indent="0">
              <a:spcAft>
                <a:spcPts val="600"/>
              </a:spcAft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700B93-C291-FF56-8879-613EFF12E9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433" y="6624083"/>
            <a:ext cx="474999" cy="23391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9C126A4-BD19-47E2-8A0E-0DE1B9D8C925}" type="slidenum">
              <a:rPr lang="en-US" sz="1000" smtClean="0"/>
              <a:pPr>
                <a:lnSpc>
                  <a:spcPct val="90000"/>
                </a:lnSpc>
                <a:spcAft>
                  <a:spcPts val="600"/>
                </a:spcAft>
              </a:pPr>
              <a:t>19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976406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8C48F-5749-597E-F4D6-B764BB1DEA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Virtual/Hybrid Education Team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CFFF128-74EC-88C2-0D7A-E8EE2EFD6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858302" y="2037795"/>
            <a:ext cx="2296097" cy="2083981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571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C68E8D0-EFD1-6764-72AF-EDB75B9F44CC}"/>
              </a:ext>
            </a:extLst>
          </p:cNvPr>
          <p:cNvSpPr txBox="1"/>
          <p:nvPr/>
        </p:nvSpPr>
        <p:spPr>
          <a:xfrm>
            <a:off x="2916514" y="4353778"/>
            <a:ext cx="2179675" cy="16312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000" b="1"/>
              <a:t>Ann Rajan</a:t>
            </a:r>
          </a:p>
          <a:p>
            <a:pPr algn="ctr"/>
            <a:endParaRPr lang="en-US" sz="2000" i="1"/>
          </a:p>
          <a:p>
            <a:pPr algn="ctr"/>
            <a:r>
              <a:rPr lang="en-US" sz="2000"/>
              <a:t>Division Director of Virtual and Hybrid Education</a:t>
            </a:r>
          </a:p>
        </p:txBody>
      </p:sp>
      <p:pic>
        <p:nvPicPr>
          <p:cNvPr id="13" name="Picture 12" descr="A person smiling at the camera">
            <a:extLst>
              <a:ext uri="{FF2B5EF4-FFF2-40B4-BE49-F238E27FC236}">
                <a16:creationId xmlns:a16="http://schemas.microsoft.com/office/drawing/2014/main" id="{938C2456-B894-B404-266C-22E91497F6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2155" y="1973383"/>
            <a:ext cx="2301920" cy="221761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FA4D7B5E-2C99-0A3D-0EE7-011C3B387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04427" y="2022334"/>
            <a:ext cx="2296097" cy="2088337"/>
          </a:xfrm>
          <a:prstGeom prst="ellipse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0A4651-8524-727D-006B-E9463884C7CD}"/>
              </a:ext>
            </a:extLst>
          </p:cNvPr>
          <p:cNvSpPr txBox="1"/>
          <p:nvPr/>
        </p:nvSpPr>
        <p:spPr>
          <a:xfrm>
            <a:off x="5507287" y="4353778"/>
            <a:ext cx="2695808" cy="16312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000" b="1"/>
              <a:t>Eric Fredrickson</a:t>
            </a:r>
          </a:p>
          <a:p>
            <a:pPr algn="ctr"/>
            <a:endParaRPr lang="en-US" sz="2000" i="1"/>
          </a:p>
          <a:p>
            <a:pPr algn="ctr"/>
            <a:r>
              <a:rPr lang="en-US" sz="2000"/>
              <a:t>Deputy Director of Virtual and Hybrid Authorization</a:t>
            </a:r>
          </a:p>
        </p:txBody>
      </p:sp>
      <p:pic>
        <p:nvPicPr>
          <p:cNvPr id="6" name="Picture 5" descr="Dr Sara Baker">
            <a:extLst>
              <a:ext uri="{FF2B5EF4-FFF2-40B4-BE49-F238E27FC236}">
                <a16:creationId xmlns:a16="http://schemas.microsoft.com/office/drawing/2014/main" id="{AC645A44-C90E-F2D2-1804-60D6D7BB067E}"/>
              </a:ext>
            </a:extLst>
          </p:cNvPr>
          <p:cNvPicPr preferRelativeResize="0">
            <a:picLocks/>
          </p:cNvPicPr>
          <p:nvPr/>
        </p:nvPicPr>
        <p:blipFill>
          <a:blip r:embed="rId5"/>
          <a:srcRect t="4361" b="4361"/>
          <a:stretch/>
        </p:blipFill>
        <p:spPr>
          <a:xfrm>
            <a:off x="8629454" y="2036944"/>
            <a:ext cx="2296097" cy="2084832"/>
          </a:xfrm>
          <a:prstGeom prst="ellipse">
            <a:avLst/>
          </a:prstGeom>
          <a:ln w="63500" cap="rnd">
            <a:solidFill>
              <a:schemeClr val="accent1"/>
            </a:solidFill>
          </a:ln>
          <a:effectLst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B500696-4140-6E1D-F7EF-C76EF4EB6886}"/>
              </a:ext>
            </a:extLst>
          </p:cNvPr>
          <p:cNvSpPr txBox="1"/>
          <p:nvPr/>
        </p:nvSpPr>
        <p:spPr>
          <a:xfrm>
            <a:off x="8349019" y="4353778"/>
            <a:ext cx="2856965" cy="16312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000" b="1"/>
              <a:t>Dr. Sara Baker</a:t>
            </a:r>
          </a:p>
          <a:p>
            <a:pPr algn="ctr"/>
            <a:endParaRPr lang="en-US" sz="2000" i="1"/>
          </a:p>
          <a:p>
            <a:pPr algn="ctr"/>
            <a:r>
              <a:rPr lang="en-US" sz="2000"/>
              <a:t>Deputy Director of Virtual and Hybrid Resources and Suppor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CAD9B7-AE09-C4C0-9C91-3BF4726B5952}"/>
              </a:ext>
            </a:extLst>
          </p:cNvPr>
          <p:cNvSpPr txBox="1"/>
          <p:nvPr/>
        </p:nvSpPr>
        <p:spPr>
          <a:xfrm>
            <a:off x="2699410" y="6046948"/>
            <a:ext cx="8400295" cy="584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Virtual.hybrid@tea.texas.gov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45B7A7-6C15-A702-84B4-4F9AA15ACF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0184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FB91C-89DD-1006-C2D0-87C2FE34D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n-US"/>
              <a:t>Changes to Remote/Hybrid Dropout Recovery Program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BBDFC08-2FBC-97C1-9661-1778B22E3D27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61951" y="1723728"/>
            <a:ext cx="5384800" cy="4290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b="1">
                <a:solidFill>
                  <a:schemeClr val="accent1"/>
                </a:solidFill>
              </a:rPr>
              <a:t>NEW - TEC §29.081</a:t>
            </a:r>
          </a:p>
          <a:p>
            <a:r>
              <a:rPr lang="en-US" sz="1800">
                <a:solidFill>
                  <a:srgbClr val="0D6CB9"/>
                </a:solidFill>
                <a:latin typeface="Calibri" panose="020F0502020204030204" pitchFamily="34" charset="0"/>
              </a:rPr>
              <a:t> (e-2)  A remote or hybrid dropout recovery education program must:</a:t>
            </a:r>
          </a:p>
          <a:p>
            <a:pPr lvl="1"/>
            <a:r>
              <a:rPr lang="en-US" sz="1800">
                <a:solidFill>
                  <a:srgbClr val="0D6CB9"/>
                </a:solidFill>
                <a:latin typeface="Calibri" panose="020F0502020204030204" pitchFamily="34" charset="0"/>
              </a:rPr>
              <a:t> (9)  be a full-time hybrid program or a full-time virtual program, as those terms are defined by TEC, §30B.001, or a full-time hybrid or virtual campus authorized under Chapter 30B</a:t>
            </a:r>
          </a:p>
          <a:p>
            <a:r>
              <a:rPr lang="en-US" sz="1800">
                <a:solidFill>
                  <a:srgbClr val="0D6CB9"/>
                </a:solidFill>
                <a:latin typeface="Calibri" panose="020F0502020204030204" pitchFamily="34" charset="0"/>
              </a:rPr>
              <a:t>(f-1)  The commissioner shall include a student enrolled in a remote or hybrid dropout recovery education program under Subsection (e-2) in the computation of the district's or school’s average daily attendance for funding purposes in the same manner as students enrolled in a full-time hybrid or virtual program or full-time hybrid or virtual campus, as applicable, under TEC, Chapter 30B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51B9F6-67EC-A8E3-BCCA-6C2E25D3B7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9824" y="1660792"/>
            <a:ext cx="5734049" cy="3536415"/>
          </a:xfrm>
        </p:spPr>
        <p:txBody>
          <a:bodyPr/>
          <a:lstStyle/>
          <a:p>
            <a:r>
              <a:rPr lang="en-US" sz="2400"/>
              <a:t>Removed course completion for funding starting in SY2025-26</a:t>
            </a:r>
          </a:p>
          <a:p>
            <a:pPr marL="0" indent="0">
              <a:buNone/>
            </a:pPr>
            <a:endParaRPr lang="en-US" sz="2400"/>
          </a:p>
          <a:p>
            <a:r>
              <a:rPr lang="en-US" sz="2400"/>
              <a:t>Remote/Hybrid dropout recovery programs must be virtual or hybrid programs under TEC, Chapter 30B.</a:t>
            </a:r>
          </a:p>
          <a:p>
            <a:pPr marL="0" indent="0">
              <a:buNone/>
            </a:pPr>
            <a:endParaRPr lang="en-US" sz="2400"/>
          </a:p>
          <a:p>
            <a:r>
              <a:rPr lang="en-US" sz="2400"/>
              <a:t>Funding and attendance reporting for these programs now follow the same rules as other full-time hybrid/virtual programs under TEC, Chapter 30B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C23575-6179-0AD7-04AB-0B3862AA09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970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FD3E1-3951-1F19-88AD-D95B30E67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8" y="126170"/>
            <a:ext cx="10764449" cy="751350"/>
          </a:xfrm>
        </p:spPr>
        <p:txBody>
          <a:bodyPr>
            <a:normAutofit/>
          </a:bodyPr>
          <a:lstStyle/>
          <a:p>
            <a:r>
              <a:rPr lang="en-US"/>
              <a:t>Transition Year Implementation: SY 25-26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B1361-895F-D096-707D-91B719D28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0309" y="64785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C126A4-BD19-47E2-8A0E-0DE1B9D8C925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340E345-C947-3E66-4486-D47AB690F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9" y="1496253"/>
            <a:ext cx="11728040" cy="4351338"/>
          </a:xfrm>
        </p:spPr>
        <p:txBody>
          <a:bodyPr>
            <a:normAutofit fontScale="92500"/>
          </a:bodyPr>
          <a:lstStyle/>
          <a:p>
            <a:r>
              <a:rPr lang="en-US" sz="2400" b="1"/>
              <a:t>For SY 25-26</a:t>
            </a:r>
            <a:r>
              <a:rPr lang="en-US" sz="2400"/>
              <a:t>, all remote/hybrid dropout recovery programs were </a:t>
            </a:r>
            <a:r>
              <a:rPr lang="en-US" sz="2400" b="1">
                <a:solidFill>
                  <a:schemeClr val="accent2"/>
                </a:solidFill>
              </a:rPr>
              <a:t>treated as virtual and hybrid programs </a:t>
            </a:r>
            <a:r>
              <a:rPr lang="en-US" sz="2400"/>
              <a:t>since there was not yet a path to authorize campuses under TEC, Chapter 30B.</a:t>
            </a:r>
          </a:p>
          <a:p>
            <a:pPr marL="0" indent="0">
              <a:buNone/>
            </a:pPr>
            <a:endParaRPr lang="en-US" sz="1000"/>
          </a:p>
          <a:p>
            <a:r>
              <a:rPr lang="en-US" sz="2400" b="1"/>
              <a:t>Attendance</a:t>
            </a:r>
            <a:r>
              <a:rPr lang="en-US" sz="2400"/>
              <a:t>: Mechanism aligned with daily attendance for virtual and hybrid programs </a:t>
            </a:r>
          </a:p>
          <a:p>
            <a:pPr lvl="1"/>
            <a:r>
              <a:rPr lang="en-US" sz="2100"/>
              <a:t>Report </a:t>
            </a:r>
            <a:r>
              <a:rPr lang="en-US" sz="2100" b="1">
                <a:solidFill>
                  <a:schemeClr val="accent2"/>
                </a:solidFill>
              </a:rPr>
              <a:t>daily attendance </a:t>
            </a:r>
            <a:r>
              <a:rPr lang="en-US" sz="2100"/>
              <a:t>for students in synchronous or asynchronous instruction per approved local policy, using options such as access instructional content and show progress via LMS activity, teacher-student check-in, or assignment submission. </a:t>
            </a:r>
          </a:p>
          <a:p>
            <a:pPr marL="457200" lvl="1" indent="0">
              <a:buNone/>
            </a:pPr>
            <a:endParaRPr lang="en-US" sz="1000"/>
          </a:p>
          <a:p>
            <a:pPr marL="457200" lvl="1" indent="0">
              <a:buNone/>
            </a:pPr>
            <a:endParaRPr lang="en-US" sz="100"/>
          </a:p>
          <a:p>
            <a:r>
              <a:rPr lang="en-US" sz="2400"/>
              <a:t>These programs follow dropout recovery requirements of </a:t>
            </a:r>
            <a:r>
              <a:rPr lang="en-US" sz="2400" b="1"/>
              <a:t>43,200 minutes</a:t>
            </a:r>
            <a:r>
              <a:rPr lang="en-US" sz="2400"/>
              <a:t>, compared to </a:t>
            </a:r>
            <a:r>
              <a:rPr lang="en-US" sz="2400" b="1"/>
              <a:t>75,600 minutes</a:t>
            </a:r>
            <a:r>
              <a:rPr lang="en-US" sz="2400"/>
              <a:t> for other virtual/hybrid programs under TEC, Chapter 30B.</a:t>
            </a:r>
          </a:p>
          <a:p>
            <a:pPr marL="0" indent="0">
              <a:buNone/>
            </a:pPr>
            <a:endParaRPr lang="en-US" sz="1000"/>
          </a:p>
          <a:p>
            <a:r>
              <a:rPr lang="en-US" sz="2400" b="1"/>
              <a:t>ADA Eligibility</a:t>
            </a:r>
            <a:r>
              <a:rPr lang="en-US" sz="2400"/>
              <a:t>: Students must be scheduled for and receive 120 minutes/day for half-day or 240 minutes/day for full-day ADA funding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5526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726CDF-9937-2A9C-41E5-4F00C67B3A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4838"/>
            <a:ext cx="11096405" cy="751350"/>
          </a:xfrm>
        </p:spPr>
        <p:txBody>
          <a:bodyPr>
            <a:noAutofit/>
          </a:bodyPr>
          <a:lstStyle/>
          <a:p>
            <a:r>
              <a:rPr lang="en-US" sz="2400"/>
              <a:t>Data Reporting for Virtual/Hybrid Programs, Remote/Hybrid Dropout Recovery Programs, and Optional Flexible School Day Program (OFSDP) for SY 2025-2026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9C193180-4217-472E-8311-8FF7C362708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5946195"/>
              </p:ext>
            </p:extLst>
          </p:nvPr>
        </p:nvGraphicFramePr>
        <p:xfrm>
          <a:off x="86225" y="1141687"/>
          <a:ext cx="11743824" cy="56692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998881">
                  <a:extLst>
                    <a:ext uri="{9D8B030D-6E8A-4147-A177-3AD203B41FA5}">
                      <a16:colId xmlns:a16="http://schemas.microsoft.com/office/drawing/2014/main" val="512108443"/>
                    </a:ext>
                  </a:extLst>
                </a:gridCol>
                <a:gridCol w="2636410">
                  <a:extLst>
                    <a:ext uri="{9D8B030D-6E8A-4147-A177-3AD203B41FA5}">
                      <a16:colId xmlns:a16="http://schemas.microsoft.com/office/drawing/2014/main" val="2644875269"/>
                    </a:ext>
                  </a:extLst>
                </a:gridCol>
                <a:gridCol w="2995863">
                  <a:extLst>
                    <a:ext uri="{9D8B030D-6E8A-4147-A177-3AD203B41FA5}">
                      <a16:colId xmlns:a16="http://schemas.microsoft.com/office/drawing/2014/main" val="2854321803"/>
                    </a:ext>
                  </a:extLst>
                </a:gridCol>
                <a:gridCol w="3112670">
                  <a:extLst>
                    <a:ext uri="{9D8B030D-6E8A-4147-A177-3AD203B41FA5}">
                      <a16:colId xmlns:a16="http://schemas.microsoft.com/office/drawing/2014/main" val="49767949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Virtual or Hybrid Programs</a:t>
                      </a:r>
                    </a:p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Remote/Hybrid Dropout Recovery Programs without OFS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Remote/Hybrid Dropout Recovery Programs with OFSD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6947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Attendance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</a:rPr>
                        <a:t>Report attendance daily for students participating in either synchronous or asynchronous methods based on the </a:t>
                      </a:r>
                      <a:r>
                        <a:rPr lang="en-US" sz="1200" b="1">
                          <a:effectLst/>
                        </a:rPr>
                        <a:t>school system-approved instructional plan and policy</a:t>
                      </a:r>
                      <a:r>
                        <a:rPr lang="en-US" sz="1200">
                          <a:effectLst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</a:rPr>
                        <a:t>Report attendance daily for students participating in either synchronous or asynchronous methods based on the </a:t>
                      </a:r>
                      <a:r>
                        <a:rPr lang="en-US" sz="1200" b="1">
                          <a:effectLst/>
                        </a:rPr>
                        <a:t>school system-approved instructional plan and policy</a:t>
                      </a:r>
                      <a:r>
                        <a:rPr lang="en-US" sz="1200">
                          <a:effectLst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</a:rPr>
                        <a:t>Report attendance daily for students participating in either synchronous or asynchronous methods based on the </a:t>
                      </a:r>
                      <a:r>
                        <a:rPr lang="en-US" sz="1200" b="1">
                          <a:effectLst/>
                        </a:rPr>
                        <a:t>school system-approved instructional plan and policy</a:t>
                      </a:r>
                      <a:r>
                        <a:rPr lang="en-US" sz="1200">
                          <a:effectLst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89065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ADA Eligibility (E0787/C059)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– Eligible for Full Day Attendance</a:t>
                      </a:r>
                    </a:p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– Eligible for Half Day Attendance</a:t>
                      </a:r>
                    </a:p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– Eligible for Full Day Attendance</a:t>
                      </a:r>
                    </a:p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– Eligible for Half Day Attendance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7 – Eligible – Flexible Attendance Program 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8 – Ineligible – Flexible Attendance Program Participation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31003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Non-Campus Based Instruction (E1072/C182)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2 – Local Virtual Course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3 – Statewide Virtual Course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2 – Local Virtual Course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3 – Statewide Virtual Course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1 - Optional Flex School Day Online Dropout Recovery Program - TEC 29.081 (e-2)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68530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Calendar Type (E1600/C215)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8 - Full-time Hybrid or Virtual Program 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5 - Dropout Recovery Program/Campus TEC 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5 - Dropout Recovery Program/Campus TEC 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22650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Full Time Hybrid Virtual Program Participation (E3131/C363)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- Full-Time Hybrid Program Participation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- Full-Time Virtual Program Participation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- Full-Time Hybrid Program Participation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- Full-Time Virtual Program Participation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- Full-Time Hybrid Program Participation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- Full-Time Virtual Program Participation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4673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Flex Attendance Program (E1045/C177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6 – OFSDP Online Dropout Recovery Program – TEC 29.081(e-2)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920863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Attendance Event Category (E3008/C329)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7 – OFSDP Online Dropout Recovery Program</a:t>
                      </a:r>
                    </a:p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6793910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982A7F-8CB3-42AC-5984-252CADF16F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0505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8DB283-1346-7E6E-A662-F2ED6ECD7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xt: Dropout Recovery Progra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D5EF7F-28B9-9D87-2C07-36C506CA8B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C32AFB9-A3BB-796D-2E9E-693ACFEE8F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9" y="1253331"/>
            <a:ext cx="11544581" cy="4351338"/>
          </a:xfrm>
        </p:spPr>
        <p:txBody>
          <a:bodyPr/>
          <a:lstStyle/>
          <a:p>
            <a:r>
              <a:rPr lang="en-US" sz="2400" b="1">
                <a:solidFill>
                  <a:srgbClr val="0D6CB9"/>
                </a:solidFill>
                <a:latin typeface="Calibri" panose="020F0502020204030204" pitchFamily="34" charset="0"/>
              </a:rPr>
              <a:t>Pre-Existing Campus Eligibility Requirements </a:t>
            </a:r>
            <a:r>
              <a:rPr lang="en-US" sz="2400">
                <a:solidFill>
                  <a:srgbClr val="0D6CB9"/>
                </a:solidFill>
                <a:latin typeface="Calibri" panose="020F0502020204030204" pitchFamily="34" charset="0"/>
              </a:rPr>
              <a:t>(SB 569 did not affect this) </a:t>
            </a:r>
          </a:p>
          <a:p>
            <a:pPr lvl="1"/>
            <a:r>
              <a:rPr lang="en-US" sz="2000">
                <a:solidFill>
                  <a:srgbClr val="0D6CB9"/>
                </a:solidFill>
                <a:latin typeface="Calibri" panose="020F0502020204030204" pitchFamily="34" charset="0"/>
              </a:rPr>
              <a:t>Campus must be designated by TEA as an Alternative Education Campus (AEC) of Choice – Dropout Recovery School (DRS) through the Alternative Education Accountability (AEA process) TEC §29.081(e-2)(7). </a:t>
            </a:r>
          </a:p>
          <a:p>
            <a:pPr marL="0" indent="0">
              <a:buNone/>
            </a:pPr>
            <a:endParaRPr lang="en-US" sz="1000"/>
          </a:p>
          <a:p>
            <a:r>
              <a:rPr lang="en-US" sz="2400"/>
              <a:t>Dropout recovery programs serve at-risk students who need flexible attendance options. Many dropout recovery programs used the Optional Flexible School Day Program (OFSDP) for attendance flexibility.</a:t>
            </a:r>
          </a:p>
          <a:p>
            <a:pPr marL="0" indent="0">
              <a:buNone/>
            </a:pPr>
            <a:endParaRPr lang="en-US" sz="1000"/>
          </a:p>
          <a:p>
            <a:r>
              <a:rPr lang="en-US" sz="2400"/>
              <a:t>Attendance-taking requirements for virtual and hybrid programs under TEC, Ch.30B limits flexibility by requiring daily attendance.</a:t>
            </a:r>
          </a:p>
          <a:p>
            <a:pPr marL="0" indent="0">
              <a:buNone/>
            </a:pPr>
            <a:endParaRPr lang="en-US" sz="1000"/>
          </a:p>
          <a:p>
            <a:r>
              <a:rPr lang="en-US" sz="2400" b="1" i="1">
                <a:solidFill>
                  <a:srgbClr val="FF0000"/>
                </a:solidFill>
              </a:rPr>
              <a:t>Pending Rules </a:t>
            </a:r>
            <a:r>
              <a:rPr lang="en-US" sz="2400" b="1"/>
              <a:t>– Beginning SY 26-27, dropout recovery programs may choose the attendance path that best meets student needs.</a:t>
            </a:r>
          </a:p>
        </p:txBody>
      </p:sp>
    </p:spTree>
    <p:extLst>
      <p:ext uri="{BB962C8B-B14F-4D97-AF65-F5344CB8AC3E}">
        <p14:creationId xmlns:p14="http://schemas.microsoft.com/office/powerpoint/2010/main" val="33797876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CFD0A4-D758-DA5D-617D-5E9B4A79D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Pathways for Remote/Hybrid Dropout Recovery Programs in SY 26-27 </a:t>
            </a:r>
            <a:r>
              <a:rPr lang="en-US" i="1"/>
              <a:t>(Pending Rules)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6462EDD-4C22-CF72-39EA-D2AB6FDA01A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7694602"/>
              </p:ext>
            </p:extLst>
          </p:nvPr>
        </p:nvGraphicFramePr>
        <p:xfrm>
          <a:off x="217487" y="1094178"/>
          <a:ext cx="11796023" cy="55878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33713">
                  <a:extLst>
                    <a:ext uri="{9D8B030D-6E8A-4147-A177-3AD203B41FA5}">
                      <a16:colId xmlns:a16="http://schemas.microsoft.com/office/drawing/2014/main" val="19405152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760469160"/>
                    </a:ext>
                  </a:extLst>
                </a:gridCol>
                <a:gridCol w="2933700">
                  <a:extLst>
                    <a:ext uri="{9D8B030D-6E8A-4147-A177-3AD203B41FA5}">
                      <a16:colId xmlns:a16="http://schemas.microsoft.com/office/drawing/2014/main" val="3892512997"/>
                    </a:ext>
                  </a:extLst>
                </a:gridCol>
                <a:gridCol w="2323410">
                  <a:extLst>
                    <a:ext uri="{9D8B030D-6E8A-4147-A177-3AD203B41FA5}">
                      <a16:colId xmlns:a16="http://schemas.microsoft.com/office/drawing/2014/main" val="2091587005"/>
                    </a:ext>
                  </a:extLst>
                </a:gridCol>
              </a:tblGrid>
              <a:tr h="360049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thway Options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quirements 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nefits 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A Process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6676014"/>
                  </a:ext>
                </a:extLst>
              </a:tr>
              <a:tr h="1143444">
                <a:tc>
                  <a:txBody>
                    <a:bodyPr/>
                    <a:lstStyle/>
                    <a:p>
                      <a:r>
                        <a:rPr lang="en-US" sz="1600"/>
                        <a:t>Run a virtual or hybrid program under Chapter 30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Must comply with requirements under TEC, Ch 30B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Attendance-taking method relies on daily engagement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Does not have to meet requirements in TEC §29.081(e-2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No application or review for program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3467987"/>
                  </a:ext>
                </a:extLst>
              </a:tr>
              <a:tr h="1134875">
                <a:tc>
                  <a:txBody>
                    <a:bodyPr/>
                    <a:lstStyle/>
                    <a:p>
                      <a:r>
                        <a:rPr lang="en-US" sz="1600"/>
                        <a:t>School offers a remote/hybrid dropout recovery program under TEC §29.081(e-2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Must comply with virtual/hybrid program requirements under TEC Ch 30B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Must meet requirements in TEC §29.081(e-2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Follows a more robust approach for programmatic requirements that is specific to this type of virtual/hybrid program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There is no current application or review of these program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0502436"/>
                  </a:ext>
                </a:extLst>
              </a:tr>
              <a:tr h="14711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School offers a remote/hybrid dropout recovery program under TEC §29.081(e-2)</a:t>
                      </a:r>
                    </a:p>
                    <a:p>
                      <a:r>
                        <a:rPr lang="en-US" sz="1600"/>
                        <a:t>and </a:t>
                      </a:r>
                      <a:r>
                        <a:rPr lang="en-US" sz="1600" b="0"/>
                        <a:t>utilize OFSDP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Must comply with virtual/hybrid program requirements under TEC Ch 30B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Must meet requirements in TEC §29.081(e-2)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/>
                        <a:t>Must meet requirements in TEC §29.0822(OFSDP).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/>
                        <a:t>Since funding based on course completion is no longer an option, schools need a system to track minute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Removes the requirement for daily engagement via OFSDP. </a:t>
                      </a:r>
                      <a:r>
                        <a:rPr lang="en-US" sz="1600" b="1"/>
                        <a:t>Schools can track instructional minutes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There is an application process for OFSD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7089971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8A566A-BD6B-9DA4-88BF-110D71B9B1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0903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C9F700-8B32-0536-945D-FBF2276B55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C3535-5E83-769E-435A-6E3AC0222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4838"/>
            <a:ext cx="11096405" cy="751350"/>
          </a:xfrm>
        </p:spPr>
        <p:txBody>
          <a:bodyPr>
            <a:noAutofit/>
          </a:bodyPr>
          <a:lstStyle/>
          <a:p>
            <a:r>
              <a:rPr lang="en-US" sz="2400"/>
              <a:t>Data Reporting for Virtual/Hybrid Programs, Remote/Hybrid Dropout Recovery Programs, and Optional Flexible School Day Program (OFSDP) for SY 2026-2027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82CB96DE-94F0-BDD8-129E-40F3C98789C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03567954"/>
              </p:ext>
            </p:extLst>
          </p:nvPr>
        </p:nvGraphicFramePr>
        <p:xfrm>
          <a:off x="86225" y="1141687"/>
          <a:ext cx="11743824" cy="55880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054017">
                  <a:extLst>
                    <a:ext uri="{9D8B030D-6E8A-4147-A177-3AD203B41FA5}">
                      <a16:colId xmlns:a16="http://schemas.microsoft.com/office/drawing/2014/main" val="512108443"/>
                    </a:ext>
                  </a:extLst>
                </a:gridCol>
                <a:gridCol w="2581274">
                  <a:extLst>
                    <a:ext uri="{9D8B030D-6E8A-4147-A177-3AD203B41FA5}">
                      <a16:colId xmlns:a16="http://schemas.microsoft.com/office/drawing/2014/main" val="2644875269"/>
                    </a:ext>
                  </a:extLst>
                </a:gridCol>
                <a:gridCol w="2995863">
                  <a:extLst>
                    <a:ext uri="{9D8B030D-6E8A-4147-A177-3AD203B41FA5}">
                      <a16:colId xmlns:a16="http://schemas.microsoft.com/office/drawing/2014/main" val="2854321803"/>
                    </a:ext>
                  </a:extLst>
                </a:gridCol>
                <a:gridCol w="3112670">
                  <a:extLst>
                    <a:ext uri="{9D8B030D-6E8A-4147-A177-3AD203B41FA5}">
                      <a16:colId xmlns:a16="http://schemas.microsoft.com/office/drawing/2014/main" val="49767949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Virtual or Hybrid Programs</a:t>
                      </a:r>
                    </a:p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emote/Hybrid Dropout Recovery Programs without OFS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Remote/Hybrid Dropout Recovery Programs with OFSDP – </a:t>
                      </a:r>
                      <a:r>
                        <a:rPr lang="en-US" b="1">
                          <a:solidFill>
                            <a:schemeClr val="accent2"/>
                          </a:solidFill>
                        </a:rPr>
                        <a:t>Proposed Changes</a:t>
                      </a:r>
                      <a:endParaRPr lang="en-US" b="1" i="1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6947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Attendance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</a:rPr>
                        <a:t>Report attendance daily for students participating in either synchronous or asynchronous methods based on the </a:t>
                      </a:r>
                      <a:r>
                        <a:rPr lang="en-US" sz="1200" b="1">
                          <a:effectLst/>
                        </a:rPr>
                        <a:t>school system-approved instructional plan and policy</a:t>
                      </a:r>
                      <a:r>
                        <a:rPr lang="en-US" sz="1200">
                          <a:effectLst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</a:rPr>
                        <a:t>Report attendance daily for students participating in either synchronous or asynchronous methods based on the </a:t>
                      </a:r>
                      <a:r>
                        <a:rPr lang="en-US" sz="1200" b="1">
                          <a:effectLst/>
                        </a:rPr>
                        <a:t>school system-approved instructional plan and policy</a:t>
                      </a:r>
                      <a:r>
                        <a:rPr lang="en-US" sz="1200">
                          <a:effectLst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For each four hours or 240 minutes of eligible instruction a student receives, the student earns one eligible day present. Eligible days present are then converted to ADA for funding purpose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89065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ADA Eligibility (E0787/C059)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– Eligible for Full Day Attendance</a:t>
                      </a:r>
                    </a:p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– Eligible for Half Day Attendance</a:t>
                      </a:r>
                    </a:p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– Eligible for Full Day Attendance</a:t>
                      </a:r>
                    </a:p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– Eligible for Half Day Attendance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7 – Eligible – Flexible Attendance Program 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8 – Ineligible – Flexible Attendance Program Participation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31003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Non-Campus Based Instruction (E1072/C182)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2 – Local Virtual Course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3 – Statewide Virtual Course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2 – Local Virtual Course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3 – Statewide Virtual Course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1 - Optional Flex School Day Online Dropout Recovery Program - TEC 29.081 (e-2)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68530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Calendar Type (E1600/C215)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18 - Full-time Hybrid or Virtual Program 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5 - Dropout Recovery Program/Campus TEC 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5 - Dropout Recovery Program/Campus TEC 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22650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Full Time Hybrid Virtual Program Participation (E3131/C363)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- Full-Time Hybrid Program Participation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- Full-Time Virtual Program Participation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- Full-Time Hybrid Program Participation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- Full-Time Virtual Program Participation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1 - Full-Time Hybrid Program Participation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 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02 - Full-Time Virtual Program Participation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4673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Flex Attendance Program (E1045/C177)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6 – OFSDP Online Dropout Recovery Program – TEC 29.081(e-2)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920863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</a:rPr>
                        <a:t>Attendance Event Category (E3008/C329)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</a:rPr>
                        <a:t>7 – OFSDP Online Dropout Recovery Program</a:t>
                      </a:r>
                    </a:p>
                    <a:p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6793910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47318C-0E4A-8BA1-6A6B-3874C44A9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3445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A922DF-AC6B-63AF-5905-969968EA5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FBCF3-845B-0CEC-B9D8-80671DDDA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Pathways for Remote/Hybrid Dropout Recovery Progra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3E104A-0160-8923-1882-029DF8EC5C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6</a:t>
            </a:fld>
            <a:endParaRPr lang="en-US"/>
          </a:p>
        </p:txBody>
      </p:sp>
      <p:pic>
        <p:nvPicPr>
          <p:cNvPr id="10" name="Picture 9" descr="Pathways for Remote/Hybrid ">
            <a:extLst>
              <a:ext uri="{FF2B5EF4-FFF2-40B4-BE49-F238E27FC236}">
                <a16:creationId xmlns:a16="http://schemas.microsoft.com/office/drawing/2014/main" id="{01B61F2A-9E77-12E3-6B6A-D6CEF50151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477" y="1112318"/>
            <a:ext cx="11873661" cy="5662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116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2796C-ACCF-96ED-C3BF-C78386C64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is the data collected used? </a:t>
            </a:r>
          </a:p>
        </p:txBody>
      </p:sp>
      <p:sp>
        <p:nvSpPr>
          <p:cNvPr id="9" name="Flowchart: Delay 8">
            <a:extLst>
              <a:ext uri="{FF2B5EF4-FFF2-40B4-BE49-F238E27FC236}">
                <a16:creationId xmlns:a16="http://schemas.microsoft.com/office/drawing/2014/main" id="{54066715-AA4C-03D8-8B88-3B45E019516F}"/>
              </a:ext>
            </a:extLst>
          </p:cNvPr>
          <p:cNvSpPr/>
          <p:nvPr/>
        </p:nvSpPr>
        <p:spPr>
          <a:xfrm>
            <a:off x="0" y="2162670"/>
            <a:ext cx="3263153" cy="3747247"/>
          </a:xfrm>
          <a:prstGeom prst="flowChartDelay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/>
              <a:t>For virtual and hybrid instructional models, PEIMS reporting data plays several key roles:</a:t>
            </a:r>
          </a:p>
        </p:txBody>
      </p:sp>
      <p:graphicFrame>
        <p:nvGraphicFramePr>
          <p:cNvPr id="8" name="Diagram 7" descr="How data is collected">
            <a:extLst>
              <a:ext uri="{FF2B5EF4-FFF2-40B4-BE49-F238E27FC236}">
                <a16:creationId xmlns:a16="http://schemas.microsoft.com/office/drawing/2014/main" id="{69CC07AC-C4AF-10B6-6635-A64F7D9643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4732690"/>
              </p:ext>
            </p:extLst>
          </p:nvPr>
        </p:nvGraphicFramePr>
        <p:xfrm>
          <a:off x="2946400" y="1095875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" name="Graphic 10" descr="Checkbox Checked with solid fill">
            <a:extLst>
              <a:ext uri="{FF2B5EF4-FFF2-40B4-BE49-F238E27FC236}">
                <a16:creationId xmlns:a16="http://schemas.microsoft.com/office/drawing/2014/main" id="{2AD7B8D0-4D24-EF40-C830-117EFA081E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04915" y="1462483"/>
            <a:ext cx="914400" cy="914400"/>
          </a:xfrm>
          <a:prstGeom prst="rect">
            <a:avLst/>
          </a:prstGeom>
        </p:spPr>
      </p:pic>
      <p:pic>
        <p:nvPicPr>
          <p:cNvPr id="13" name="Graphic 12" descr="Schoolhouse with solid fill">
            <a:extLst>
              <a:ext uri="{FF2B5EF4-FFF2-40B4-BE49-F238E27FC236}">
                <a16:creationId xmlns:a16="http://schemas.microsoft.com/office/drawing/2014/main" id="{195F985F-0402-3331-965E-5C79E77362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89790" y="2696375"/>
            <a:ext cx="914400" cy="914400"/>
          </a:xfrm>
          <a:prstGeom prst="rect">
            <a:avLst/>
          </a:prstGeom>
        </p:spPr>
      </p:pic>
      <p:pic>
        <p:nvPicPr>
          <p:cNvPr id="17" name="Graphic 16" descr="Signal with solid fill">
            <a:extLst>
              <a:ext uri="{FF2B5EF4-FFF2-40B4-BE49-F238E27FC236}">
                <a16:creationId xmlns:a16="http://schemas.microsoft.com/office/drawing/2014/main" id="{78A18627-3401-7114-AE43-B6A3D1B71A3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79376" y="5211275"/>
            <a:ext cx="914400" cy="914400"/>
          </a:xfrm>
          <a:prstGeom prst="rect">
            <a:avLst/>
          </a:prstGeom>
        </p:spPr>
      </p:pic>
      <p:pic>
        <p:nvPicPr>
          <p:cNvPr id="19" name="Graphic 18" descr="Online meeting with solid fill">
            <a:extLst>
              <a:ext uri="{FF2B5EF4-FFF2-40B4-BE49-F238E27FC236}">
                <a16:creationId xmlns:a16="http://schemas.microsoft.com/office/drawing/2014/main" id="{E1578457-9892-262F-E0F0-37555FD7AC4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589790" y="3985642"/>
            <a:ext cx="914400" cy="9144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927CB4-834E-6953-7B50-7115B38871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514542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436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B42BF6-0FE8-313C-3719-4B554C2F73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FCA332-D58D-AE68-9BCB-09E2FD9C13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3225894"/>
            <a:ext cx="8275320" cy="1105857"/>
          </a:xfrm>
        </p:spPr>
        <p:txBody>
          <a:bodyPr/>
          <a:lstStyle/>
          <a:p>
            <a:r>
              <a:rPr lang="en-US"/>
              <a:t>Question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F6DA431-5C99-3624-D445-8B8D15A31F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07958" y="2861147"/>
            <a:ext cx="932046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69BCF9-DF82-A4CD-2407-3C55F7D12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07958" y="4714660"/>
            <a:ext cx="932046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00402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B62DE-475C-6B02-7A38-12E8396EF2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Virtual and Hybrid Education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24BB6C-E2FD-7725-F0FD-0970DBCFA7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4257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8279A-3E20-07B8-234A-84F58AA7A7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751901-94DB-E4A7-1496-0D8998FDE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14673"/>
            <a:ext cx="9358700" cy="751350"/>
          </a:xfrm>
        </p:spPr>
        <p:txBody>
          <a:bodyPr anchor="ctr">
            <a:noAutofit/>
          </a:bodyPr>
          <a:lstStyle/>
          <a:p>
            <a:r>
              <a:rPr lang="en-US" sz="3200" b="1">
                <a:latin typeface="+mn-lt"/>
                <a:ea typeface="Open Sans Extrabold"/>
                <a:cs typeface="Open Sans Extrabold"/>
              </a:rPr>
              <a:t>Virtual and Hybrid Models Address Needs Across the Education Ecosyste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CE657E-7C55-B93B-3E97-A8D355E47907}"/>
              </a:ext>
            </a:extLst>
          </p:cNvPr>
          <p:cNvSpPr txBox="1"/>
          <p:nvPr/>
        </p:nvSpPr>
        <p:spPr>
          <a:xfrm>
            <a:off x="285469" y="1383387"/>
            <a:ext cx="11795199" cy="707886"/>
          </a:xfrm>
          <a:prstGeom prst="rect">
            <a:avLst/>
          </a:prstGeom>
          <a:solidFill>
            <a:schemeClr val="accent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Virtual and Hybrid program and campuses offer flexible, personalized learning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for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tudents and families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while enabling school systems to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expand access, optimize staffing, and reimagine program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grpSp>
        <p:nvGrpSpPr>
          <p:cNvPr id="3" name="Group 2" descr="Broader Course Offerings: &#10;Provide access to advanced courses and personalized pathways to more students&#10;Operational Flexibility: &#10;Adapt to staffing gaps.&#10;Accommodate health and life challenges for students and caregivers. Program Customization: &#10;Streamline resources to boost credit recovery and work-based learning opportunities aligned with student goals">
            <a:extLst>
              <a:ext uri="{FF2B5EF4-FFF2-40B4-BE49-F238E27FC236}">
                <a16:creationId xmlns:a16="http://schemas.microsoft.com/office/drawing/2014/main" id="{983450AE-50BD-42B8-9D4F-694559810341}"/>
              </a:ext>
            </a:extLst>
          </p:cNvPr>
          <p:cNvGrpSpPr/>
          <p:nvPr/>
        </p:nvGrpSpPr>
        <p:grpSpPr>
          <a:xfrm>
            <a:off x="450262" y="2357226"/>
            <a:ext cx="11456712" cy="4216710"/>
            <a:chOff x="450262" y="2357226"/>
            <a:chExt cx="11456712" cy="421671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9D2C6B0-6936-AA27-65D7-2438B68264BD}"/>
                </a:ext>
              </a:extLst>
            </p:cNvPr>
            <p:cNvSpPr/>
            <p:nvPr/>
          </p:nvSpPr>
          <p:spPr>
            <a:xfrm>
              <a:off x="450262" y="2374651"/>
              <a:ext cx="3543765" cy="3715502"/>
            </a:xfrm>
            <a:prstGeom prst="roundRect">
              <a:avLst/>
            </a:prstGeom>
            <a:ln w="285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roader Course Offering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vide access to advanced courses and personalized pathways to more student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5ADA56E-919B-A0DD-8E40-9858F1B44C7C}"/>
                </a:ext>
              </a:extLst>
            </p:cNvPr>
            <p:cNvGrpSpPr/>
            <p:nvPr/>
          </p:nvGrpSpPr>
          <p:grpSpPr>
            <a:xfrm>
              <a:off x="3306134" y="5507264"/>
              <a:ext cx="919803" cy="976341"/>
              <a:chOff x="1597084" y="3085321"/>
              <a:chExt cx="1034149" cy="1006487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0DFD1EE9-9DE3-5CAD-70C8-3DCF44667EE6}"/>
                  </a:ext>
                </a:extLst>
              </p:cNvPr>
              <p:cNvSpPr/>
              <p:nvPr/>
            </p:nvSpPr>
            <p:spPr>
              <a:xfrm>
                <a:off x="1597084" y="3085321"/>
                <a:ext cx="1034149" cy="1006487"/>
              </a:xfrm>
              <a:prstGeom prst="ellipse">
                <a:avLst/>
              </a:prstGeom>
              <a:ln w="3175"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39" name="Graphic 38" descr="Laptop outline">
                <a:extLst>
                  <a:ext uri="{FF2B5EF4-FFF2-40B4-BE49-F238E27FC236}">
                    <a16:creationId xmlns:a16="http://schemas.microsoft.com/office/drawing/2014/main" id="{F25AF50B-40BC-F349-61B0-F1AF6B2316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693503" y="3177539"/>
                <a:ext cx="846289" cy="846289"/>
              </a:xfrm>
              <a:prstGeom prst="rect">
                <a:avLst/>
              </a:prstGeom>
            </p:spPr>
          </p:pic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63107942-2A85-3B33-7BD8-30F113CCF23E}"/>
                </a:ext>
              </a:extLst>
            </p:cNvPr>
            <p:cNvSpPr/>
            <p:nvPr/>
          </p:nvSpPr>
          <p:spPr>
            <a:xfrm>
              <a:off x="4225937" y="2374652"/>
              <a:ext cx="3543765" cy="3715501"/>
            </a:xfrm>
            <a:prstGeom prst="roundRect">
              <a:avLst/>
            </a:prstGeom>
            <a:ln w="285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erational Flexibilit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dapt to staffing gap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commodate health and life challenges for students and caregivers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237A7296-D016-874E-51EF-627369436EB7}"/>
                </a:ext>
              </a:extLst>
            </p:cNvPr>
            <p:cNvSpPr/>
            <p:nvPr/>
          </p:nvSpPr>
          <p:spPr>
            <a:xfrm>
              <a:off x="8001612" y="2357226"/>
              <a:ext cx="3543765" cy="3750351"/>
            </a:xfrm>
            <a:prstGeom prst="roundRect">
              <a:avLst/>
            </a:prstGeom>
            <a:ln w="285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Program Customization</a:t>
              </a: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​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Streamline resources to boost credit recovery and work-based learning opportunities aligned with student goals</a:t>
              </a: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6134854-0360-9D38-1903-4EDD3994A7A8}"/>
                </a:ext>
              </a:extLst>
            </p:cNvPr>
            <p:cNvGrpSpPr/>
            <p:nvPr/>
          </p:nvGrpSpPr>
          <p:grpSpPr>
            <a:xfrm>
              <a:off x="10991415" y="5606369"/>
              <a:ext cx="915559" cy="967567"/>
              <a:chOff x="10993115" y="5406522"/>
              <a:chExt cx="915559" cy="967567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24E32EA3-6823-B94C-F38F-E99A7B53C6BF}"/>
                  </a:ext>
                </a:extLst>
              </p:cNvPr>
              <p:cNvSpPr/>
              <p:nvPr/>
            </p:nvSpPr>
            <p:spPr>
              <a:xfrm>
                <a:off x="10993115" y="5406522"/>
                <a:ext cx="915559" cy="967567"/>
              </a:xfrm>
              <a:prstGeom prst="ellipse">
                <a:avLst/>
              </a:prstGeom>
              <a:ln w="3175"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35" name="Graphic 34" descr="Compass outline">
                <a:extLst>
                  <a:ext uri="{FF2B5EF4-FFF2-40B4-BE49-F238E27FC236}">
                    <a16:creationId xmlns:a16="http://schemas.microsoft.com/office/drawing/2014/main" id="{29CA4ADB-8F8D-CA72-9396-F48C64B98F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1017626" y="5419222"/>
                <a:ext cx="865648" cy="944110"/>
              </a:xfrm>
              <a:prstGeom prst="rect">
                <a:avLst/>
              </a:prstGeom>
            </p:spPr>
          </p:pic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56DD41D8-41B5-D72D-16DB-751C08931FC1}"/>
                </a:ext>
              </a:extLst>
            </p:cNvPr>
            <p:cNvGrpSpPr/>
            <p:nvPr/>
          </p:nvGrpSpPr>
          <p:grpSpPr>
            <a:xfrm>
              <a:off x="7081809" y="5535503"/>
              <a:ext cx="919803" cy="976341"/>
              <a:chOff x="9086849" y="600570"/>
              <a:chExt cx="919803" cy="976341"/>
            </a:xfrm>
          </p:grpSpPr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52BD93C9-9161-E458-297C-5D8B177230B3}"/>
                  </a:ext>
                </a:extLst>
              </p:cNvPr>
              <p:cNvSpPr/>
              <p:nvPr/>
            </p:nvSpPr>
            <p:spPr>
              <a:xfrm>
                <a:off x="9086849" y="600570"/>
                <a:ext cx="919803" cy="976341"/>
              </a:xfrm>
              <a:prstGeom prst="ellipse">
                <a:avLst/>
              </a:prstGeom>
              <a:ln w="3175">
                <a:solidFill>
                  <a:schemeClr val="accent4"/>
                </a:solidFill>
              </a:ln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33" name="Graphic 32" descr="Watch with solid fill">
                <a:extLst>
                  <a:ext uri="{FF2B5EF4-FFF2-40B4-BE49-F238E27FC236}">
                    <a16:creationId xmlns:a16="http://schemas.microsoft.com/office/drawing/2014/main" id="{9344668D-9112-2EB6-F806-0BBD57F778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9189070" y="710086"/>
                <a:ext cx="715359" cy="751350"/>
              </a:xfrm>
              <a:prstGeom prst="rect">
                <a:avLst/>
              </a:prstGeom>
            </p:spPr>
          </p:pic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1F2F6B-097F-54EC-CDAF-41A0396747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69C126A4-BD19-47E2-8A0E-0DE1B9D8C9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7598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81A93B-F0CA-1429-B726-CBA1F58A90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8B78B-2A38-FA71-415D-1E33571B6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89th Session:</a:t>
            </a:r>
            <a:r>
              <a:rPr lang="en-US" sz="3600"/>
              <a:t> </a:t>
            </a:r>
            <a:r>
              <a:rPr lang="en-US"/>
              <a:t>SB 569 Overview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2C2F24-C3A5-CD6C-F7C4-B255C21648BE}"/>
              </a:ext>
            </a:extLst>
          </p:cNvPr>
          <p:cNvSpPr txBox="1"/>
          <p:nvPr/>
        </p:nvSpPr>
        <p:spPr>
          <a:xfrm>
            <a:off x="285469" y="2515186"/>
            <a:ext cx="4447068" cy="2677656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2"/>
            </a:solidFill>
            <a:prstDash val="solid"/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endParaRPr lang="en-US" sz="2800" b="1"/>
          </a:p>
          <a:p>
            <a:pPr algn="ctr"/>
            <a:r>
              <a:rPr lang="en-US" sz="2800" b="1"/>
              <a:t>SB 569 </a:t>
            </a:r>
            <a:r>
              <a:rPr lang="en-US" sz="2800"/>
              <a:t>establishes</a:t>
            </a:r>
          </a:p>
          <a:p>
            <a:pPr algn="ctr"/>
            <a:r>
              <a:rPr lang="en-US" sz="2800" b="1">
                <a:solidFill>
                  <a:schemeClr val="accent2"/>
                </a:solidFill>
              </a:rPr>
              <a:t>three delivery formats &amp; streamlines requirements</a:t>
            </a:r>
          </a:p>
          <a:p>
            <a:pPr algn="ctr"/>
            <a:r>
              <a:rPr lang="en-US" sz="2800">
                <a:solidFill>
                  <a:schemeClr val="accent2"/>
                </a:solidFill>
              </a:rPr>
              <a:t> </a:t>
            </a:r>
            <a:r>
              <a:rPr lang="en-US" sz="2800"/>
              <a:t>for virtual/hybrid learning.</a:t>
            </a:r>
          </a:p>
          <a:p>
            <a:pPr algn="ctr"/>
            <a:endParaRPr lang="en-US" sz="28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7226CD-3503-4AE7-DB1A-6C9AFE0B69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2910" y="1676517"/>
            <a:ext cx="7075968" cy="4354994"/>
          </a:xfrm>
        </p:spPr>
        <p:txBody>
          <a:bodyPr/>
          <a:lstStyle/>
          <a:p>
            <a:pPr marL="0" indent="0">
              <a:buNone/>
            </a:pPr>
            <a:r>
              <a:rPr lang="en-US" sz="2000" b="1"/>
              <a:t>Individual Courses</a:t>
            </a:r>
          </a:p>
          <a:p>
            <a:pPr lvl="1"/>
            <a:r>
              <a:rPr lang="en-US" sz="1800">
                <a:solidFill>
                  <a:schemeClr val="tx1"/>
                </a:solidFill>
                <a:latin typeface="+mn-lt"/>
              </a:rPr>
              <a:t>LEAs </a:t>
            </a:r>
            <a:r>
              <a:rPr lang="en-US" sz="1800" b="1">
                <a:solidFill>
                  <a:schemeClr val="tx1"/>
                </a:solidFill>
                <a:latin typeface="+mn-lt"/>
              </a:rPr>
              <a:t>may offer 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individual virtual or hybrid courses and </a:t>
            </a:r>
            <a:r>
              <a:rPr lang="en-US" sz="1800" b="1">
                <a:solidFill>
                  <a:schemeClr val="tx1"/>
                </a:solidFill>
                <a:latin typeface="+mn-lt"/>
              </a:rPr>
              <a:t>certify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 that those courses cover </a:t>
            </a:r>
            <a:r>
              <a:rPr lang="en-US" sz="1800" b="1">
                <a:solidFill>
                  <a:schemeClr val="tx1"/>
                </a:solidFill>
                <a:latin typeface="+mn-lt"/>
              </a:rPr>
              <a:t>the TEKS,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 provide grade-level </a:t>
            </a:r>
            <a:r>
              <a:rPr lang="en-US" sz="1800" b="1">
                <a:solidFill>
                  <a:schemeClr val="tx1"/>
                </a:solidFill>
                <a:latin typeface="+mn-lt"/>
              </a:rPr>
              <a:t>rigor and mastery 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of the subject or grade-level, and </a:t>
            </a:r>
            <a:r>
              <a:rPr lang="en-US" sz="1800" b="1">
                <a:solidFill>
                  <a:schemeClr val="tx1"/>
                </a:solidFill>
                <a:latin typeface="+mn-lt"/>
              </a:rPr>
              <a:t>meets standards of quality</a:t>
            </a:r>
          </a:p>
          <a:p>
            <a:pPr marL="0" indent="0">
              <a:buNone/>
            </a:pPr>
            <a:r>
              <a:rPr lang="en-US" sz="2000" b="1"/>
              <a:t>Full-Time Virtual/Hybrid Programs</a:t>
            </a:r>
          </a:p>
          <a:p>
            <a:pPr lvl="1"/>
            <a:r>
              <a:rPr lang="en-US" sz="1800">
                <a:solidFill>
                  <a:schemeClr val="tx1"/>
                </a:solidFill>
              </a:rPr>
              <a:t>LEAs may offer virtual/hybrid programs within campuses </a:t>
            </a:r>
            <a:r>
              <a:rPr lang="en-US" sz="1800" b="1">
                <a:solidFill>
                  <a:schemeClr val="tx1"/>
                </a:solidFill>
              </a:rPr>
              <a:t>without authorization </a:t>
            </a:r>
            <a:r>
              <a:rPr lang="en-US" sz="1800">
                <a:solidFill>
                  <a:schemeClr val="tx1"/>
                </a:solidFill>
              </a:rPr>
              <a:t>if enrollment is </a:t>
            </a:r>
            <a:r>
              <a:rPr lang="en-US" sz="1800" b="1">
                <a:solidFill>
                  <a:schemeClr val="tx1"/>
                </a:solidFill>
              </a:rPr>
              <a:t>less than 50% </a:t>
            </a:r>
            <a:r>
              <a:rPr lang="en-US" sz="1800">
                <a:solidFill>
                  <a:schemeClr val="tx1"/>
                </a:solidFill>
              </a:rPr>
              <a:t>of students enrolled at the campus</a:t>
            </a:r>
          </a:p>
          <a:p>
            <a:pPr marL="0" indent="0">
              <a:buNone/>
            </a:pPr>
            <a:r>
              <a:rPr lang="en-US" sz="2000" b="1"/>
              <a:t>Full-Time Virtual/Hybrid Campuses</a:t>
            </a:r>
          </a:p>
          <a:p>
            <a:pPr lvl="1"/>
            <a:r>
              <a:rPr lang="en-US" sz="1800">
                <a:solidFill>
                  <a:schemeClr val="tx1"/>
                </a:solidFill>
              </a:rPr>
              <a:t>LEAs may offer virtual/hybrid campuses </a:t>
            </a:r>
            <a:r>
              <a:rPr lang="en-US" sz="1800" b="1">
                <a:solidFill>
                  <a:schemeClr val="tx1"/>
                </a:solidFill>
              </a:rPr>
              <a:t>after receiving authorization</a:t>
            </a:r>
            <a:r>
              <a:rPr lang="en-US" sz="1800">
                <a:solidFill>
                  <a:schemeClr val="tx1"/>
                </a:solidFill>
              </a:rPr>
              <a:t> from TEA through an </a:t>
            </a:r>
            <a:r>
              <a:rPr lang="en-US" sz="1800" b="1">
                <a:solidFill>
                  <a:schemeClr val="tx1"/>
                </a:solidFill>
              </a:rPr>
              <a:t>application process</a:t>
            </a:r>
          </a:p>
          <a:p>
            <a:pPr lvl="1"/>
            <a:r>
              <a:rPr lang="en-US" sz="1800" b="1">
                <a:solidFill>
                  <a:schemeClr val="tx1"/>
                </a:solidFill>
                <a:latin typeface="+mn-lt"/>
              </a:rPr>
              <a:t>Increased accountability </a:t>
            </a:r>
            <a:r>
              <a:rPr lang="en-US" sz="1800">
                <a:solidFill>
                  <a:schemeClr val="tx1"/>
                </a:solidFill>
                <a:latin typeface="+mn-lt"/>
              </a:rPr>
              <a:t>requirements</a:t>
            </a:r>
            <a:endParaRPr lang="en-US" sz="2000" b="0"/>
          </a:p>
          <a:p>
            <a:pPr lvl="1"/>
            <a:endParaRPr lang="en-US" sz="2800">
              <a:solidFill>
                <a:srgbClr val="242424"/>
              </a:solidFill>
              <a:latin typeface="+mn-lt"/>
            </a:endParaRPr>
          </a:p>
          <a:p>
            <a:pPr lvl="1"/>
            <a:endParaRPr lang="en-US" sz="2800"/>
          </a:p>
          <a:p>
            <a:endParaRPr lang="en-US" sz="32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CC15B2-A260-7791-64FA-88EF0726E5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860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2796C-ACCF-96ED-C3BF-C78386C64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>
                <a:ea typeface="Open Sans Extrabold"/>
                <a:cs typeface="Open Sans Extrabold"/>
              </a:rPr>
              <a:t>Virtual and Hybrid Model Definitions</a:t>
            </a:r>
            <a:endParaRPr lang="en-US"/>
          </a:p>
        </p:txBody>
      </p:sp>
      <p:sp>
        <p:nvSpPr>
          <p:cNvPr id="5" name="Flowchart: Alternate Process 4">
            <a:extLst>
              <a:ext uri="{FF2B5EF4-FFF2-40B4-BE49-F238E27FC236}">
                <a16:creationId xmlns:a16="http://schemas.microsoft.com/office/drawing/2014/main" id="{68AF96C9-3C52-C2FE-7579-E6CB74914B6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187687" y="1893013"/>
            <a:ext cx="3298005" cy="3071973"/>
          </a:xfrm>
          <a:prstGeom prst="flowChartAlternateProcess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0" b="1"/>
              <a:t>Virtual</a:t>
            </a:r>
            <a:r>
              <a:rPr lang="en-US" sz="6000"/>
              <a:t>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68D0DF5-8AE0-1BC8-A2D1-91C08F2B2A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303195" y="1893013"/>
            <a:ext cx="3298005" cy="3071973"/>
          </a:xfrm>
          <a:prstGeom prst="roundRect">
            <a:avLst/>
          </a:prstGeom>
          <a:solidFill>
            <a:srgbClr val="01569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brid</a:t>
            </a:r>
            <a:endParaRPr kumimoji="0" lang="en-US" sz="4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C2770F4-1147-90A4-2731-2984BD5A9D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00633" y="2829654"/>
            <a:ext cx="1761626" cy="176162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D1FAC9B1-241C-0698-377E-AE991F3B69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51183" y="2789898"/>
            <a:ext cx="1476536" cy="147653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CC38D7DC-7B81-6E46-B167-34EE0570BC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71888" y="3111260"/>
            <a:ext cx="1342734" cy="134273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927CB4-834E-6953-7B50-7115B38871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4955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CEBF2-3BC3-2896-7144-16D4E525B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brid Class Schedule Options 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5608EAB-AC9C-A545-C2B1-BF877BEC0EE7}"/>
              </a:ext>
            </a:extLst>
          </p:cNvPr>
          <p:cNvSpPr/>
          <p:nvPr/>
        </p:nvSpPr>
        <p:spPr>
          <a:xfrm>
            <a:off x="403885" y="1155157"/>
            <a:ext cx="11384227" cy="748199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/>
              <a:t>Hybrid</a:t>
            </a:r>
            <a:r>
              <a:rPr lang="en-US" sz="4400"/>
              <a:t> </a:t>
            </a: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6E0EB9E9-17E7-B386-4A66-290C8C975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7783494"/>
              </p:ext>
            </p:extLst>
          </p:nvPr>
        </p:nvGraphicFramePr>
        <p:xfrm>
          <a:off x="403885" y="2467967"/>
          <a:ext cx="1957290" cy="3871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7290">
                  <a:extLst>
                    <a:ext uri="{9D8B030D-6E8A-4147-A177-3AD203B41FA5}">
                      <a16:colId xmlns:a16="http://schemas.microsoft.com/office/drawing/2014/main" val="4061427292"/>
                    </a:ext>
                  </a:extLst>
                </a:gridCol>
              </a:tblGrid>
              <a:tr h="601975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Schedule 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7891216"/>
                  </a:ext>
                </a:extLst>
              </a:tr>
              <a:tr h="467127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1</a:t>
                      </a:r>
                    </a:p>
                  </a:txBody>
                  <a:tcPr anchor="ctr">
                    <a:solidFill>
                      <a:srgbClr val="ABCCE7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806919"/>
                  </a:ext>
                </a:extLst>
              </a:tr>
              <a:tr h="467127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2</a:t>
                      </a:r>
                    </a:p>
                  </a:txBody>
                  <a:tcPr anchor="ctr">
                    <a:solidFill>
                      <a:srgbClr val="ABCCE7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9057221"/>
                  </a:ext>
                </a:extLst>
              </a:tr>
              <a:tr h="467127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3</a:t>
                      </a:r>
                    </a:p>
                  </a:txBody>
                  <a:tcPr anchor="ctr">
                    <a:solidFill>
                      <a:srgbClr val="ABCCE7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537860"/>
                  </a:ext>
                </a:extLst>
              </a:tr>
              <a:tr h="467127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4</a:t>
                      </a:r>
                    </a:p>
                  </a:txBody>
                  <a:tcPr anchor="ctr">
                    <a:solidFill>
                      <a:srgbClr val="ABCCE7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479695"/>
                  </a:ext>
                </a:extLst>
              </a:tr>
              <a:tr h="467127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5</a:t>
                      </a:r>
                    </a:p>
                  </a:txBody>
                  <a:tcPr anchor="ctr">
                    <a:solidFill>
                      <a:srgbClr val="ABCCE7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293200"/>
                  </a:ext>
                </a:extLst>
              </a:tr>
              <a:tr h="467127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6</a:t>
                      </a:r>
                    </a:p>
                  </a:txBody>
                  <a:tcPr anchor="ctr">
                    <a:solidFill>
                      <a:srgbClr val="ABCCE7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230065"/>
                  </a:ext>
                </a:extLst>
              </a:tr>
              <a:tr h="46712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lass 7</a:t>
                      </a:r>
                    </a:p>
                  </a:txBody>
                  <a:tcPr anchor="ctr">
                    <a:solidFill>
                      <a:srgbClr val="ABCCE7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0279015"/>
                  </a:ext>
                </a:extLst>
              </a:tr>
            </a:tbl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F8DDD786-ADE1-B220-1797-CA4986C7FB84}"/>
              </a:ext>
            </a:extLst>
          </p:cNvPr>
          <p:cNvSpPr txBox="1"/>
          <p:nvPr/>
        </p:nvSpPr>
        <p:spPr>
          <a:xfrm>
            <a:off x="3047999" y="2146270"/>
            <a:ext cx="6096000" cy="2145268"/>
          </a:xfrm>
          <a:prstGeom prst="roundRect">
            <a:avLst/>
          </a:prstGeom>
          <a:noFill/>
          <a:ln w="57150">
            <a:solidFill>
              <a:schemeClr val="accent6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>
                <a:solidFill>
                  <a:schemeClr val="dk1"/>
                </a:solidFill>
              </a:rPr>
              <a:t>a student attends in-person classes for less than 90% of instructional time. </a:t>
            </a:r>
            <a:r>
              <a:rPr lang="en-US" sz="2400">
                <a:solidFill>
                  <a:schemeClr val="dk1"/>
                </a:solidFill>
              </a:rPr>
              <a:t>Instruction can be delivered online (synchronously or asynchronously), in person, or through other methods. </a:t>
            </a:r>
            <a:endParaRPr lang="en-US" sz="24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D8A353B-02F8-A39E-280E-BD818C5F9C8A}"/>
              </a:ext>
            </a:extLst>
          </p:cNvPr>
          <p:cNvSpPr/>
          <p:nvPr/>
        </p:nvSpPr>
        <p:spPr>
          <a:xfrm>
            <a:off x="2291275" y="4773825"/>
            <a:ext cx="3117507" cy="106776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Schedule Option A: </a:t>
            </a:r>
            <a:r>
              <a:rPr lang="en-US" sz="2400">
                <a:solidFill>
                  <a:schemeClr val="tx1"/>
                </a:solidFill>
              </a:rPr>
              <a:t>All hybrid classes </a:t>
            </a:r>
          </a:p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96C71AF8-465B-5F00-DB4F-74692C3B96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06009"/>
              </p:ext>
            </p:extLst>
          </p:nvPr>
        </p:nvGraphicFramePr>
        <p:xfrm>
          <a:off x="9900725" y="2533192"/>
          <a:ext cx="1766442" cy="38572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6442">
                  <a:extLst>
                    <a:ext uri="{9D8B030D-6E8A-4147-A177-3AD203B41FA5}">
                      <a16:colId xmlns:a16="http://schemas.microsoft.com/office/drawing/2014/main" val="4061427292"/>
                    </a:ext>
                  </a:extLst>
                </a:gridCol>
              </a:tblGrid>
              <a:tr h="656837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Schedule B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7891216"/>
                  </a:ext>
                </a:extLst>
              </a:tr>
              <a:tr h="431718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806919"/>
                  </a:ext>
                </a:extLst>
              </a:tr>
              <a:tr h="431718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2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9057221"/>
                  </a:ext>
                </a:extLst>
              </a:tr>
              <a:tr h="431718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3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537860"/>
                  </a:ext>
                </a:extLst>
              </a:tr>
              <a:tr h="431718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4</a:t>
                      </a:r>
                    </a:p>
                  </a:txBody>
                  <a:tcPr anchor="ctr">
                    <a:solidFill>
                      <a:srgbClr val="F4AFAA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479695"/>
                  </a:ext>
                </a:extLst>
              </a:tr>
              <a:tr h="431718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5</a:t>
                      </a:r>
                    </a:p>
                  </a:txBody>
                  <a:tcPr anchor="ctr">
                    <a:solidFill>
                      <a:srgbClr val="F4AFAA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293200"/>
                  </a:ext>
                </a:extLst>
              </a:tr>
              <a:tr h="431718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Class 6</a:t>
                      </a:r>
                    </a:p>
                  </a:txBody>
                  <a:tcPr anchor="ctr">
                    <a:solidFill>
                      <a:srgbClr val="F4AFAA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230065"/>
                  </a:ext>
                </a:extLst>
              </a:tr>
              <a:tr h="431718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lass 7</a:t>
                      </a:r>
                    </a:p>
                  </a:txBody>
                  <a:tcPr anchor="ctr">
                    <a:solidFill>
                      <a:srgbClr val="F4AFAA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0279015"/>
                  </a:ext>
                </a:extLst>
              </a:tr>
            </a:tbl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141A89B-C994-25C0-1113-0BEC2B0E51C5}"/>
              </a:ext>
            </a:extLst>
          </p:cNvPr>
          <p:cNvSpPr/>
          <p:nvPr/>
        </p:nvSpPr>
        <p:spPr>
          <a:xfrm>
            <a:off x="6500251" y="4495504"/>
            <a:ext cx="3400474" cy="186753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Schedule Option B: </a:t>
            </a:r>
            <a:r>
              <a:rPr lang="en-US" sz="2400">
                <a:solidFill>
                  <a:schemeClr val="tx1"/>
                </a:solidFill>
              </a:rPr>
              <a:t>Some in-person classes and some virtual classes 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4E343BD3-29EF-926D-91A1-786C3D35DEFA}"/>
              </a:ext>
            </a:extLst>
          </p:cNvPr>
          <p:cNvSpPr txBox="1">
            <a:spLocks/>
          </p:cNvSpPr>
          <p:nvPr/>
        </p:nvSpPr>
        <p:spPr>
          <a:xfrm>
            <a:off x="8829631" y="64344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C126A4-BD19-47E2-8A0E-0DE1B9D8C92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571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56E836-9DBB-92F0-C92A-BF2613E88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9597B-0C0E-DC67-08BA-60141EED23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tual and Hybrid Model Definition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1F091A-8AFF-A74B-59AB-2B8323DF4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9631" y="6434497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5" name="Picture 4" descr="virtual and hybrid model definitions">
            <a:extLst>
              <a:ext uri="{FF2B5EF4-FFF2-40B4-BE49-F238E27FC236}">
                <a16:creationId xmlns:a16="http://schemas.microsoft.com/office/drawing/2014/main" id="{46CD72A3-2A8D-DC67-C4DC-445DB9928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820" y="1047543"/>
            <a:ext cx="12104180" cy="579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2260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8D206-2593-4B08-B966-1DF4F5EF6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Virtual and Hybrid Campuse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A2FE6F-2794-DD37-0A4D-CE2D0FB2A9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93" name="Picture 92" descr="virtual and hybrid campuses">
            <a:extLst>
              <a:ext uri="{FF2B5EF4-FFF2-40B4-BE49-F238E27FC236}">
                <a16:creationId xmlns:a16="http://schemas.microsoft.com/office/drawing/2014/main" id="{1533E710-B1CD-92B7-7328-05B89DA5D3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6" y="1049895"/>
            <a:ext cx="12187254" cy="5164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146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Theme">
  <a:themeElements>
    <a:clrScheme name="TEA Colors - 2021">
      <a:dk1>
        <a:srgbClr val="000000"/>
      </a:dk1>
      <a:lt1>
        <a:srgbClr val="FFFFFF"/>
      </a:lt1>
      <a:dk2>
        <a:srgbClr val="41873F"/>
      </a:dk2>
      <a:lt2>
        <a:srgbClr val="D8D8D8"/>
      </a:lt2>
      <a:accent1>
        <a:srgbClr val="0D6CB9"/>
      </a:accent1>
      <a:accent2>
        <a:srgbClr val="F16038"/>
      </a:accent2>
      <a:accent3>
        <a:srgbClr val="B72418"/>
      </a:accent3>
      <a:accent4>
        <a:srgbClr val="704180"/>
      </a:accent4>
      <a:accent5>
        <a:srgbClr val="596167"/>
      </a:accent5>
      <a:accent6>
        <a:srgbClr val="012069"/>
      </a:accent6>
      <a:hlink>
        <a:srgbClr val="1682C5"/>
      </a:hlink>
      <a:folHlink>
        <a:srgbClr val="F06039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 PPT Template Spring 2024  -  Read-Only" id="{37369D67-18C1-4231-A3BB-DDB2FCA6A8B2}" vid="{21C0C6BE-2822-4B5F-90C5-8162F9B8C5A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64dc535-04dd-49f2-a306-e5dfdf6f536f">
      <Terms xmlns="http://schemas.microsoft.com/office/infopath/2007/PartnerControls"/>
    </lcf76f155ced4ddcb4097134ff3c332f>
    <TaxCatchAll xmlns="c18b84e2-5de8-440b-bd0f-9ce3687c8921" xsi:nil="true"/>
    <Number xmlns="964dc535-04dd-49f2-a306-e5dfdf6f536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25C97EC9BBC4449782F2FDAE6BF759" ma:contentTypeVersion="21" ma:contentTypeDescription="Create a new document." ma:contentTypeScope="" ma:versionID="2ae816dd30b0200744f652b14ab07a45">
  <xsd:schema xmlns:xsd="http://www.w3.org/2001/XMLSchema" xmlns:xs="http://www.w3.org/2001/XMLSchema" xmlns:p="http://schemas.microsoft.com/office/2006/metadata/properties" xmlns:ns2="55f9b468-d193-4645-a3e4-4dcc5efee1b4" xmlns:ns3="964dc535-04dd-49f2-a306-e5dfdf6f536f" xmlns:ns4="c18b84e2-5de8-440b-bd0f-9ce3687c8921" targetNamespace="http://schemas.microsoft.com/office/2006/metadata/properties" ma:root="true" ma:fieldsID="5127d2b6dc90b87d32a0c91c8b959f37" ns2:_="" ns3:_="" ns4:_="">
    <xsd:import namespace="55f9b468-d193-4645-a3e4-4dcc5efee1b4"/>
    <xsd:import namespace="964dc535-04dd-49f2-a306-e5dfdf6f536f"/>
    <xsd:import namespace="c18b84e2-5de8-440b-bd0f-9ce3687c892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Location" minOccurs="0"/>
                <xsd:element ref="ns3:MediaServiceSearchProperties" minOccurs="0"/>
                <xsd:element ref="ns3:Numb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f9b468-d193-4645-a3e4-4dcc5efee1b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4dc535-04dd-49f2-a306-e5dfdf6f53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3b7a77b5-e59d-49f3-97a2-3dde868dbe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Number" ma:index="26" nillable="true" ma:displayName="Number" ma:format="Dropdown" ma:internalName="Numb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8b84e2-5de8-440b-bd0f-9ce3687c8921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60d16e74-f922-4126-ae4d-9faa2536c169}" ma:internalName="TaxCatchAll" ma:showField="CatchAllData" ma:web="c18b84e2-5de8-440b-bd0f-9ce3687c89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F8554AA-C1A4-423D-9B24-F9A6C1F7B2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1E6AE2-FD78-458E-941A-83AC85AE66BD}">
  <ds:schemaRefs>
    <ds:schemaRef ds:uri="http://schemas.openxmlformats.org/package/2006/metadata/core-properties"/>
    <ds:schemaRef ds:uri="http://schemas.microsoft.com/office/2006/documentManagement/types"/>
    <ds:schemaRef ds:uri="c18b84e2-5de8-440b-bd0f-9ce3687c8921"/>
    <ds:schemaRef ds:uri="964dc535-04dd-49f2-a306-e5dfdf6f536f"/>
    <ds:schemaRef ds:uri="http://purl.org/dc/elements/1.1/"/>
    <ds:schemaRef ds:uri="http://schemas.microsoft.com/office/2006/metadata/properties"/>
    <ds:schemaRef ds:uri="55f9b468-d193-4645-a3e4-4dcc5efee1b4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FB348A1-B727-4CB6-8E76-AC2E2B4DEEA1}">
  <ds:schemaRefs>
    <ds:schemaRef ds:uri="55f9b468-d193-4645-a3e4-4dcc5efee1b4"/>
    <ds:schemaRef ds:uri="964dc535-04dd-49f2-a306-e5dfdf6f536f"/>
    <ds:schemaRef ds:uri="c18b84e2-5de8-440b-bd0f-9ce3687c892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</TotalTime>
  <Words>3086</Words>
  <Application>Microsoft Office PowerPoint</Application>
  <PresentationFormat>Widescreen</PresentationFormat>
  <Paragraphs>377</Paragraphs>
  <Slides>28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rial</vt:lpstr>
      <vt:lpstr>Calibri</vt:lpstr>
      <vt:lpstr>Open Sans Extrabold</vt:lpstr>
      <vt:lpstr>Wingdings</vt:lpstr>
      <vt:lpstr>4_Office Theme</vt:lpstr>
      <vt:lpstr>think-cell Slide</vt:lpstr>
      <vt:lpstr>Virtual and Hybrid Education 2026 Spring TSDS ESC Coordinator Training March 31, 2026</vt:lpstr>
      <vt:lpstr>Virtual/Hybrid Education Team</vt:lpstr>
      <vt:lpstr>Virtual and Hybrid Education Overview</vt:lpstr>
      <vt:lpstr>Virtual and Hybrid Models Address Needs Across the Education Ecosystem</vt:lpstr>
      <vt:lpstr>89th Session: SB 569 Overview</vt:lpstr>
      <vt:lpstr>Virtual and Hybrid Model Definitions</vt:lpstr>
      <vt:lpstr>Hybrid Class Schedule Options </vt:lpstr>
      <vt:lpstr>Virtual and Hybrid Model Definitions </vt:lpstr>
      <vt:lpstr>Virtual and Hybrid Campuses</vt:lpstr>
      <vt:lpstr>Virtual and Hybrid Model Definitions 2</vt:lpstr>
      <vt:lpstr>Campus, Program, or Courses? What School Systems Consider Before Deciding</vt:lpstr>
      <vt:lpstr>TEC, Chapter 30B is undergoing the rulemaking process.  Rules will go into effect in the Summer of 2026</vt:lpstr>
      <vt:lpstr>Attendance and Funding</vt:lpstr>
      <vt:lpstr>SY 2025-26: Transition Year</vt:lpstr>
      <vt:lpstr>Attendance and Funding </vt:lpstr>
      <vt:lpstr>Full-time Virtual and Hybrid Campuses</vt:lpstr>
      <vt:lpstr>Full-time Virtual and Hybrid Programs</vt:lpstr>
      <vt:lpstr>Virtual or Hybrid Courses</vt:lpstr>
      <vt:lpstr>Remote/Hybrid Dropout Recovery</vt:lpstr>
      <vt:lpstr>Changes to Remote/Hybrid Dropout Recovery Programs</vt:lpstr>
      <vt:lpstr>Transition Year Implementation: SY 25-26</vt:lpstr>
      <vt:lpstr>Data Reporting for Virtual/Hybrid Programs, Remote/Hybrid Dropout Recovery Programs, and Optional Flexible School Day Program (OFSDP) for SY 2025-2026</vt:lpstr>
      <vt:lpstr>Context: Dropout Recovery Programs</vt:lpstr>
      <vt:lpstr>Pathways for Remote/Hybrid Dropout Recovery Programs in SY 26-27 (Pending Rules)</vt:lpstr>
      <vt:lpstr>Data Reporting for Virtual/Hybrid Programs, Remote/Hybrid Dropout Recovery Programs, and Optional Flexible School Day Program (OFSDP) for SY 2026-2027</vt:lpstr>
      <vt:lpstr>Pathways for Remote/Hybrid Dropout Recovery Programs</vt:lpstr>
      <vt:lpstr>How is the data collected used? 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chord, Parker</dc:creator>
  <cp:lastModifiedBy>Ollervidez, Leticia</cp:lastModifiedBy>
  <cp:revision>2</cp:revision>
  <dcterms:created xsi:type="dcterms:W3CDTF">2024-12-12T16:13:25Z</dcterms:created>
  <dcterms:modified xsi:type="dcterms:W3CDTF">2026-03-30T22:0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C125C97EC9BBC4449782F2FDAE6BF759</vt:lpwstr>
  </property>
</Properties>
</file>